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648" r:id="rId4"/>
    <p:sldMasterId id="2147483716" r:id="rId5"/>
    <p:sldMasterId id="2147483686" r:id="rId6"/>
    <p:sldMasterId id="2147483698" r:id="rId7"/>
  </p:sldMasterIdLst>
  <p:notesMasterIdLst>
    <p:notesMasterId r:id="rId17"/>
  </p:notesMasterIdLst>
  <p:handoutMasterIdLst>
    <p:handoutMasterId r:id="rId18"/>
  </p:handoutMasterIdLst>
  <p:sldIdLst>
    <p:sldId id="382" r:id="rId8"/>
    <p:sldId id="456" r:id="rId9"/>
    <p:sldId id="448" r:id="rId10"/>
    <p:sldId id="447" r:id="rId11"/>
    <p:sldId id="450" r:id="rId12"/>
    <p:sldId id="451" r:id="rId13"/>
    <p:sldId id="453" r:id="rId14"/>
    <p:sldId id="455" r:id="rId15"/>
    <p:sldId id="458" r:id="rId16"/>
  </p:sldIdLst>
  <p:sldSz cx="8961438" cy="6721475"/>
  <p:notesSz cx="6858000" cy="9296400"/>
  <p:custDataLst>
    <p:tags r:id="rId19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99"/>
    <a:srgbClr val="A7C4EB"/>
    <a:srgbClr val="95B8E7"/>
    <a:srgbClr val="3366CC"/>
    <a:srgbClr val="09357A"/>
    <a:srgbClr val="F84242"/>
    <a:srgbClr val="F8BB42"/>
    <a:srgbClr val="00EA6A"/>
    <a:srgbClr val="4E5054"/>
    <a:srgbClr val="00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Stile con tema 2 - Colore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8B1032C-EA38-4F05-BA0D-38AFFFC7BED3}" styleName="Stile chiaro 3 - Colore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Stile medio 2 - Color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ile medio 2 - Color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DA37D80-6434-44D0-A028-1B22A696006F}" styleName="Stile chiaro 3 - Colore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215" autoAdjust="0"/>
    <p:restoredTop sz="97122" autoAdjust="0"/>
  </p:normalViewPr>
  <p:slideViewPr>
    <p:cSldViewPr snapToGrid="0">
      <p:cViewPr>
        <p:scale>
          <a:sx n="106" d="100"/>
          <a:sy n="106" d="100"/>
        </p:scale>
        <p:origin x="-1386" y="360"/>
      </p:cViewPr>
      <p:guideLst>
        <p:guide orient="horz" pos="2117"/>
        <p:guide orient="horz" pos="179"/>
        <p:guide orient="horz" pos="2423"/>
        <p:guide orient="horz" pos="2431"/>
        <p:guide orient="horz" pos="2439"/>
        <p:guide pos="2822"/>
        <p:guide pos="987"/>
        <p:guide pos="550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3" d="100"/>
        <a:sy n="93" d="100"/>
      </p:scale>
      <p:origin x="0" y="0"/>
    </p:cViewPr>
  </p:sorterViewPr>
  <p:notesViewPr>
    <p:cSldViewPr snapToGrid="0">
      <p:cViewPr varScale="1">
        <p:scale>
          <a:sx n="68" d="100"/>
          <a:sy n="68" d="100"/>
        </p:scale>
        <p:origin x="-3336" y="-120"/>
      </p:cViewPr>
      <p:guideLst>
        <p:guide orient="horz" pos="2928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4AE67A6-4A7F-4041-8DFB-26B34F0E5F87}" type="doc">
      <dgm:prSet loTypeId="urn:microsoft.com/office/officeart/2005/8/layout/venn2" loCatId="relationship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it-IT"/>
        </a:p>
      </dgm:t>
    </dgm:pt>
    <dgm:pt modelId="{00C960B8-5B21-42FC-B1E9-BFE617D87B5C}">
      <dgm:prSet/>
      <dgm:spPr/>
      <dgm:t>
        <a:bodyPr/>
        <a:lstStyle/>
        <a:p>
          <a:endParaRPr lang="it-IT" dirty="0"/>
        </a:p>
      </dgm:t>
    </dgm:pt>
    <dgm:pt modelId="{0C2FD174-3AA4-4FCC-A803-31CF264DD64E}" type="parTrans" cxnId="{A2D0BA55-940B-456A-BE07-87CED8FEB71E}">
      <dgm:prSet/>
      <dgm:spPr/>
      <dgm:t>
        <a:bodyPr/>
        <a:lstStyle/>
        <a:p>
          <a:endParaRPr lang="it-IT"/>
        </a:p>
      </dgm:t>
    </dgm:pt>
    <dgm:pt modelId="{852135A2-9772-4826-A2C9-F904BC29BD15}" type="sibTrans" cxnId="{A2D0BA55-940B-456A-BE07-87CED8FEB71E}">
      <dgm:prSet/>
      <dgm:spPr/>
      <dgm:t>
        <a:bodyPr/>
        <a:lstStyle/>
        <a:p>
          <a:endParaRPr lang="it-IT"/>
        </a:p>
      </dgm:t>
    </dgm:pt>
    <dgm:pt modelId="{60827C55-AA3B-4101-872A-FD9B3C9DE94A}">
      <dgm:prSet/>
      <dgm:spPr/>
      <dgm:t>
        <a:bodyPr/>
        <a:lstStyle/>
        <a:p>
          <a:endParaRPr lang="it-IT" dirty="0"/>
        </a:p>
      </dgm:t>
    </dgm:pt>
    <dgm:pt modelId="{4AB24373-FF80-4D0F-AB81-04676B4F16A5}" type="parTrans" cxnId="{58336CCE-BD64-48F8-BCF8-50F6A47D389F}">
      <dgm:prSet/>
      <dgm:spPr/>
      <dgm:t>
        <a:bodyPr/>
        <a:lstStyle/>
        <a:p>
          <a:endParaRPr lang="it-IT"/>
        </a:p>
      </dgm:t>
    </dgm:pt>
    <dgm:pt modelId="{7D9D21BE-4331-423D-AAE7-3252D2374E8B}" type="sibTrans" cxnId="{58336CCE-BD64-48F8-BCF8-50F6A47D389F}">
      <dgm:prSet/>
      <dgm:spPr/>
      <dgm:t>
        <a:bodyPr/>
        <a:lstStyle/>
        <a:p>
          <a:endParaRPr lang="it-IT"/>
        </a:p>
      </dgm:t>
    </dgm:pt>
    <dgm:pt modelId="{E5F6236D-A0C2-4801-B15B-27EC07D4F67B}">
      <dgm:prSet/>
      <dgm:spPr/>
      <dgm:t>
        <a:bodyPr/>
        <a:lstStyle/>
        <a:p>
          <a:endParaRPr lang="it-IT" dirty="0"/>
        </a:p>
      </dgm:t>
    </dgm:pt>
    <dgm:pt modelId="{1BFDF915-25B5-462C-8C65-23604BFB5B13}" type="parTrans" cxnId="{790FA950-5B8B-4503-B2A1-3270D5B33325}">
      <dgm:prSet/>
      <dgm:spPr/>
      <dgm:t>
        <a:bodyPr/>
        <a:lstStyle/>
        <a:p>
          <a:endParaRPr lang="it-IT"/>
        </a:p>
      </dgm:t>
    </dgm:pt>
    <dgm:pt modelId="{A8601B5C-E24C-4CB7-A21B-3A3BDE082A7C}" type="sibTrans" cxnId="{790FA950-5B8B-4503-B2A1-3270D5B33325}">
      <dgm:prSet/>
      <dgm:spPr/>
      <dgm:t>
        <a:bodyPr/>
        <a:lstStyle/>
        <a:p>
          <a:endParaRPr lang="it-IT"/>
        </a:p>
      </dgm:t>
    </dgm:pt>
    <dgm:pt modelId="{197A726D-C95E-4ED1-A83D-1BD4A87D581C}">
      <dgm:prSet/>
      <dgm:spPr/>
      <dgm:t>
        <a:bodyPr/>
        <a:lstStyle/>
        <a:p>
          <a:endParaRPr lang="it-IT" dirty="0"/>
        </a:p>
      </dgm:t>
    </dgm:pt>
    <dgm:pt modelId="{5AC0BEF4-98F1-43D9-9937-3E8915493071}" type="parTrans" cxnId="{F5AACFF6-AF61-44DA-AF30-2C4B63452801}">
      <dgm:prSet/>
      <dgm:spPr/>
      <dgm:t>
        <a:bodyPr/>
        <a:lstStyle/>
        <a:p>
          <a:endParaRPr lang="it-IT"/>
        </a:p>
      </dgm:t>
    </dgm:pt>
    <dgm:pt modelId="{554B0C56-1135-418A-8627-2BE16B413771}" type="sibTrans" cxnId="{F5AACFF6-AF61-44DA-AF30-2C4B63452801}">
      <dgm:prSet/>
      <dgm:spPr/>
      <dgm:t>
        <a:bodyPr/>
        <a:lstStyle/>
        <a:p>
          <a:endParaRPr lang="it-IT"/>
        </a:p>
      </dgm:t>
    </dgm:pt>
    <dgm:pt modelId="{51C979F9-21C2-444B-BC49-EABA02F7E77F}">
      <dgm:prSet/>
      <dgm:spPr/>
      <dgm:t>
        <a:bodyPr/>
        <a:lstStyle/>
        <a:p>
          <a:endParaRPr lang="it-IT" dirty="0"/>
        </a:p>
      </dgm:t>
    </dgm:pt>
    <dgm:pt modelId="{3375DB93-52E7-4759-9DAB-76BBD9542CD4}" type="parTrans" cxnId="{96AFD8C7-E138-4020-9F5F-DF4721FC5FCE}">
      <dgm:prSet/>
      <dgm:spPr/>
      <dgm:t>
        <a:bodyPr/>
        <a:lstStyle/>
        <a:p>
          <a:endParaRPr lang="it-IT"/>
        </a:p>
      </dgm:t>
    </dgm:pt>
    <dgm:pt modelId="{CB98A56C-964C-4C0F-91C8-4C5566FCB297}" type="sibTrans" cxnId="{96AFD8C7-E138-4020-9F5F-DF4721FC5FCE}">
      <dgm:prSet/>
      <dgm:spPr/>
      <dgm:t>
        <a:bodyPr/>
        <a:lstStyle/>
        <a:p>
          <a:endParaRPr lang="it-IT"/>
        </a:p>
      </dgm:t>
    </dgm:pt>
    <dgm:pt modelId="{6DCAFF6A-CB44-4ABD-8126-E9F1A31CABC1}">
      <dgm:prSet/>
      <dgm:spPr/>
      <dgm:t>
        <a:bodyPr/>
        <a:lstStyle/>
        <a:p>
          <a:endParaRPr lang="it-IT" dirty="0"/>
        </a:p>
      </dgm:t>
    </dgm:pt>
    <dgm:pt modelId="{567CB9B7-54C4-4AE7-BA11-708A9F4E6A1B}" type="parTrans" cxnId="{85299FFA-D29C-4147-87C6-E014DDF5CDD6}">
      <dgm:prSet/>
      <dgm:spPr/>
      <dgm:t>
        <a:bodyPr/>
        <a:lstStyle/>
        <a:p>
          <a:endParaRPr lang="it-IT"/>
        </a:p>
      </dgm:t>
    </dgm:pt>
    <dgm:pt modelId="{CA5DE7FB-1D3B-4DAC-9A01-A63720461D64}" type="sibTrans" cxnId="{85299FFA-D29C-4147-87C6-E014DDF5CDD6}">
      <dgm:prSet/>
      <dgm:spPr/>
      <dgm:t>
        <a:bodyPr/>
        <a:lstStyle/>
        <a:p>
          <a:endParaRPr lang="it-IT"/>
        </a:p>
      </dgm:t>
    </dgm:pt>
    <dgm:pt modelId="{9664C385-0A53-4166-8ED2-83BCE8DAB046}">
      <dgm:prSet/>
      <dgm:spPr/>
      <dgm:t>
        <a:bodyPr/>
        <a:lstStyle/>
        <a:p>
          <a:endParaRPr lang="it-IT" dirty="0"/>
        </a:p>
      </dgm:t>
    </dgm:pt>
    <dgm:pt modelId="{FE323297-B6BA-41DF-98BB-4AABF0732D47}" type="sibTrans" cxnId="{43053D5D-3C60-49F9-8A20-E503BE6C50A6}">
      <dgm:prSet/>
      <dgm:spPr/>
      <dgm:t>
        <a:bodyPr/>
        <a:lstStyle/>
        <a:p>
          <a:endParaRPr lang="it-IT"/>
        </a:p>
      </dgm:t>
    </dgm:pt>
    <dgm:pt modelId="{9D0E1487-3C4B-411E-B801-7DC838E6ACA2}" type="parTrans" cxnId="{43053D5D-3C60-49F9-8A20-E503BE6C50A6}">
      <dgm:prSet/>
      <dgm:spPr/>
      <dgm:t>
        <a:bodyPr/>
        <a:lstStyle/>
        <a:p>
          <a:endParaRPr lang="it-IT"/>
        </a:p>
      </dgm:t>
    </dgm:pt>
    <dgm:pt modelId="{A811EDA8-9F62-4691-8713-F13A50971F99}" type="pres">
      <dgm:prSet presAssocID="{94AE67A6-4A7F-4041-8DFB-26B34F0E5F87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047581B2-6B44-4DE6-9B28-B2B4318CC253}" type="pres">
      <dgm:prSet presAssocID="{94AE67A6-4A7F-4041-8DFB-26B34F0E5F87}" presName="comp1" presStyleCnt="0"/>
      <dgm:spPr/>
      <dgm:t>
        <a:bodyPr/>
        <a:lstStyle/>
        <a:p>
          <a:endParaRPr lang="it-IT"/>
        </a:p>
      </dgm:t>
    </dgm:pt>
    <dgm:pt modelId="{DDE39521-2419-4BDC-A525-11ABDCD35396}" type="pres">
      <dgm:prSet presAssocID="{94AE67A6-4A7F-4041-8DFB-26B34F0E5F87}" presName="circle1" presStyleLbl="node1" presStyleIdx="0" presStyleCnt="7" custAng="0" custLinFactNeighborY="-1507"/>
      <dgm:spPr/>
      <dgm:t>
        <a:bodyPr/>
        <a:lstStyle/>
        <a:p>
          <a:endParaRPr lang="it-IT"/>
        </a:p>
      </dgm:t>
    </dgm:pt>
    <dgm:pt modelId="{1847AE4D-F5B4-486F-984D-42FE36922110}" type="pres">
      <dgm:prSet presAssocID="{94AE67A6-4A7F-4041-8DFB-26B34F0E5F87}" presName="c1text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89ECF5E-0FED-4FD2-84C8-EA5A39E3F98F}" type="pres">
      <dgm:prSet presAssocID="{94AE67A6-4A7F-4041-8DFB-26B34F0E5F87}" presName="comp2" presStyleCnt="0"/>
      <dgm:spPr/>
      <dgm:t>
        <a:bodyPr/>
        <a:lstStyle/>
        <a:p>
          <a:endParaRPr lang="it-IT"/>
        </a:p>
      </dgm:t>
    </dgm:pt>
    <dgm:pt modelId="{37D56104-E7EB-46C7-85AB-EAAF2D28641E}" type="pres">
      <dgm:prSet presAssocID="{94AE67A6-4A7F-4041-8DFB-26B34F0E5F87}" presName="circle2" presStyleLbl="node1" presStyleIdx="1" presStyleCnt="7" custLinFactNeighborY="813"/>
      <dgm:spPr/>
      <dgm:t>
        <a:bodyPr/>
        <a:lstStyle/>
        <a:p>
          <a:endParaRPr lang="it-IT"/>
        </a:p>
      </dgm:t>
    </dgm:pt>
    <dgm:pt modelId="{68257933-1706-4EDD-9B57-50D78ABB3D55}" type="pres">
      <dgm:prSet presAssocID="{94AE67A6-4A7F-4041-8DFB-26B34F0E5F87}" presName="c2text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CF2AE05F-16D8-4944-A6BF-C4CE1796D21C}" type="pres">
      <dgm:prSet presAssocID="{94AE67A6-4A7F-4041-8DFB-26B34F0E5F87}" presName="comp3" presStyleCnt="0"/>
      <dgm:spPr/>
      <dgm:t>
        <a:bodyPr/>
        <a:lstStyle/>
        <a:p>
          <a:endParaRPr lang="it-IT"/>
        </a:p>
      </dgm:t>
    </dgm:pt>
    <dgm:pt modelId="{691880C8-A7E7-459E-A965-72469EB73A70}" type="pres">
      <dgm:prSet presAssocID="{94AE67A6-4A7F-4041-8DFB-26B34F0E5F87}" presName="circle3" presStyleLbl="node1" presStyleIdx="2" presStyleCnt="7" custLinFactNeighborX="2809"/>
      <dgm:spPr/>
      <dgm:t>
        <a:bodyPr/>
        <a:lstStyle/>
        <a:p>
          <a:endParaRPr lang="it-IT"/>
        </a:p>
      </dgm:t>
    </dgm:pt>
    <dgm:pt modelId="{D830DCCA-14E3-4EDC-AF30-987EA604139A}" type="pres">
      <dgm:prSet presAssocID="{94AE67A6-4A7F-4041-8DFB-26B34F0E5F87}" presName="c3text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8531FEC-B7E9-4E85-996B-4851B6EBB460}" type="pres">
      <dgm:prSet presAssocID="{94AE67A6-4A7F-4041-8DFB-26B34F0E5F87}" presName="comp4" presStyleCnt="0"/>
      <dgm:spPr/>
      <dgm:t>
        <a:bodyPr/>
        <a:lstStyle/>
        <a:p>
          <a:endParaRPr lang="it-IT"/>
        </a:p>
      </dgm:t>
    </dgm:pt>
    <dgm:pt modelId="{708739FC-4756-408A-93A0-FCD08D66801A}" type="pres">
      <dgm:prSet presAssocID="{94AE67A6-4A7F-4041-8DFB-26B34F0E5F87}" presName="circle4" presStyleLbl="node1" presStyleIdx="3" presStyleCnt="7" custLinFactNeighborX="2387"/>
      <dgm:spPr/>
      <dgm:t>
        <a:bodyPr/>
        <a:lstStyle/>
        <a:p>
          <a:endParaRPr lang="it-IT"/>
        </a:p>
      </dgm:t>
    </dgm:pt>
    <dgm:pt modelId="{B572E9D9-71D7-48AA-B26C-19F92EDE90BC}" type="pres">
      <dgm:prSet presAssocID="{94AE67A6-4A7F-4041-8DFB-26B34F0E5F87}" presName="c4text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2861A4C-94DE-4D8A-B82E-F8E3148C241E}" type="pres">
      <dgm:prSet presAssocID="{94AE67A6-4A7F-4041-8DFB-26B34F0E5F87}" presName="comp5" presStyleCnt="0"/>
      <dgm:spPr/>
      <dgm:t>
        <a:bodyPr/>
        <a:lstStyle/>
        <a:p>
          <a:endParaRPr lang="it-IT"/>
        </a:p>
      </dgm:t>
    </dgm:pt>
    <dgm:pt modelId="{E776F1D0-C17F-4374-91E3-95C9D2245984}" type="pres">
      <dgm:prSet presAssocID="{94AE67A6-4A7F-4041-8DFB-26B34F0E5F87}" presName="circle5" presStyleLbl="node1" presStyleIdx="4" presStyleCnt="7"/>
      <dgm:spPr/>
      <dgm:t>
        <a:bodyPr/>
        <a:lstStyle/>
        <a:p>
          <a:endParaRPr lang="it-IT"/>
        </a:p>
      </dgm:t>
    </dgm:pt>
    <dgm:pt modelId="{864B163D-9F06-42D9-924B-796127015BB3}" type="pres">
      <dgm:prSet presAssocID="{94AE67A6-4A7F-4041-8DFB-26B34F0E5F87}" presName="c5text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370667D-B7C6-449C-8A95-CE6E1CFE27E4}" type="pres">
      <dgm:prSet presAssocID="{94AE67A6-4A7F-4041-8DFB-26B34F0E5F87}" presName="comp6" presStyleCnt="0"/>
      <dgm:spPr/>
      <dgm:t>
        <a:bodyPr/>
        <a:lstStyle/>
        <a:p>
          <a:endParaRPr lang="it-IT"/>
        </a:p>
      </dgm:t>
    </dgm:pt>
    <dgm:pt modelId="{3853C169-9BD2-4AFC-9DAE-9D619AC5BC2F}" type="pres">
      <dgm:prSet presAssocID="{94AE67A6-4A7F-4041-8DFB-26B34F0E5F87}" presName="circle6" presStyleLbl="node1" presStyleIdx="5" presStyleCnt="7" custScaleY="99780"/>
      <dgm:spPr/>
      <dgm:t>
        <a:bodyPr/>
        <a:lstStyle/>
        <a:p>
          <a:endParaRPr lang="it-IT"/>
        </a:p>
      </dgm:t>
    </dgm:pt>
    <dgm:pt modelId="{F3061880-A72A-4804-AB2B-CCA6CAB9968B}" type="pres">
      <dgm:prSet presAssocID="{94AE67A6-4A7F-4041-8DFB-26B34F0E5F87}" presName="c6text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98C2F392-84BC-4DA3-A34D-0AF36C6D57CD}" type="pres">
      <dgm:prSet presAssocID="{94AE67A6-4A7F-4041-8DFB-26B34F0E5F87}" presName="comp7" presStyleCnt="0"/>
      <dgm:spPr/>
    </dgm:pt>
    <dgm:pt modelId="{99E8C778-0EF3-44F8-8B84-51BCE6BE600F}" type="pres">
      <dgm:prSet presAssocID="{94AE67A6-4A7F-4041-8DFB-26B34F0E5F87}" presName="circle7" presStyleLbl="node1" presStyleIdx="6" presStyleCnt="7" custLinFactNeighborY="11062"/>
      <dgm:spPr/>
      <dgm:t>
        <a:bodyPr/>
        <a:lstStyle/>
        <a:p>
          <a:endParaRPr lang="it-IT"/>
        </a:p>
      </dgm:t>
    </dgm:pt>
    <dgm:pt modelId="{4B10C2CE-843F-4FD3-B9AA-2FE07BC803CC}" type="pres">
      <dgm:prSet presAssocID="{94AE67A6-4A7F-4041-8DFB-26B34F0E5F87}" presName="c7text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85299FFA-D29C-4147-87C6-E014DDF5CDD6}" srcId="{94AE67A6-4A7F-4041-8DFB-26B34F0E5F87}" destId="{6DCAFF6A-CB44-4ABD-8126-E9F1A31CABC1}" srcOrd="5" destOrd="0" parTransId="{567CB9B7-54C4-4AE7-BA11-708A9F4E6A1B}" sibTransId="{CA5DE7FB-1D3B-4DAC-9A01-A63720461D64}"/>
    <dgm:cxn modelId="{7D9139B6-31EC-45C4-BF50-478BDBF211F1}" type="presOf" srcId="{60827C55-AA3B-4101-872A-FD9B3C9DE94A}" destId="{68257933-1706-4EDD-9B57-50D78ABB3D55}" srcOrd="1" destOrd="0" presId="urn:microsoft.com/office/officeart/2005/8/layout/venn2"/>
    <dgm:cxn modelId="{F5CCDBE7-FD30-4A35-881C-5C83AA8727B1}" type="presOf" srcId="{94AE67A6-4A7F-4041-8DFB-26B34F0E5F87}" destId="{A811EDA8-9F62-4691-8713-F13A50971F99}" srcOrd="0" destOrd="0" presId="urn:microsoft.com/office/officeart/2005/8/layout/venn2"/>
    <dgm:cxn modelId="{58336CCE-BD64-48F8-BCF8-50F6A47D389F}" srcId="{94AE67A6-4A7F-4041-8DFB-26B34F0E5F87}" destId="{60827C55-AA3B-4101-872A-FD9B3C9DE94A}" srcOrd="1" destOrd="0" parTransId="{4AB24373-FF80-4D0F-AB81-04676B4F16A5}" sibTransId="{7D9D21BE-4331-423D-AAE7-3252D2374E8B}"/>
    <dgm:cxn modelId="{B0C2E8CC-6637-4B21-AD51-638880ABC446}" type="presOf" srcId="{51C979F9-21C2-444B-BC49-EABA02F7E77F}" destId="{864B163D-9F06-42D9-924B-796127015BB3}" srcOrd="1" destOrd="0" presId="urn:microsoft.com/office/officeart/2005/8/layout/venn2"/>
    <dgm:cxn modelId="{85BDBF41-22BD-412C-974A-99C98712F681}" type="presOf" srcId="{6DCAFF6A-CB44-4ABD-8126-E9F1A31CABC1}" destId="{F3061880-A72A-4804-AB2B-CCA6CAB9968B}" srcOrd="1" destOrd="0" presId="urn:microsoft.com/office/officeart/2005/8/layout/venn2"/>
    <dgm:cxn modelId="{96AFD8C7-E138-4020-9F5F-DF4721FC5FCE}" srcId="{94AE67A6-4A7F-4041-8DFB-26B34F0E5F87}" destId="{51C979F9-21C2-444B-BC49-EABA02F7E77F}" srcOrd="4" destOrd="0" parTransId="{3375DB93-52E7-4759-9DAB-76BBD9542CD4}" sibTransId="{CB98A56C-964C-4C0F-91C8-4C5566FCB297}"/>
    <dgm:cxn modelId="{BEC5E414-CF97-4769-B3A5-C5BF80E5D009}" type="presOf" srcId="{9664C385-0A53-4166-8ED2-83BCE8DAB046}" destId="{708739FC-4756-408A-93A0-FCD08D66801A}" srcOrd="0" destOrd="0" presId="urn:microsoft.com/office/officeart/2005/8/layout/venn2"/>
    <dgm:cxn modelId="{DA8D7405-C526-4216-A2E1-72095482E7CC}" type="presOf" srcId="{6DCAFF6A-CB44-4ABD-8126-E9F1A31CABC1}" destId="{3853C169-9BD2-4AFC-9DAE-9D619AC5BC2F}" srcOrd="0" destOrd="0" presId="urn:microsoft.com/office/officeart/2005/8/layout/venn2"/>
    <dgm:cxn modelId="{EFD0CDC3-5CD0-413C-8582-FA624C9088DE}" type="presOf" srcId="{E5F6236D-A0C2-4801-B15B-27EC07D4F67B}" destId="{691880C8-A7E7-459E-A965-72469EB73A70}" srcOrd="0" destOrd="0" presId="urn:microsoft.com/office/officeart/2005/8/layout/venn2"/>
    <dgm:cxn modelId="{F5AACFF6-AF61-44DA-AF30-2C4B63452801}" srcId="{94AE67A6-4A7F-4041-8DFB-26B34F0E5F87}" destId="{197A726D-C95E-4ED1-A83D-1BD4A87D581C}" srcOrd="6" destOrd="0" parTransId="{5AC0BEF4-98F1-43D9-9937-3E8915493071}" sibTransId="{554B0C56-1135-418A-8627-2BE16B413771}"/>
    <dgm:cxn modelId="{790FA950-5B8B-4503-B2A1-3270D5B33325}" srcId="{94AE67A6-4A7F-4041-8DFB-26B34F0E5F87}" destId="{E5F6236D-A0C2-4801-B15B-27EC07D4F67B}" srcOrd="2" destOrd="0" parTransId="{1BFDF915-25B5-462C-8C65-23604BFB5B13}" sibTransId="{A8601B5C-E24C-4CB7-A21B-3A3BDE082A7C}"/>
    <dgm:cxn modelId="{9C51E5AC-AB6C-403D-86CA-DD2374403626}" type="presOf" srcId="{60827C55-AA3B-4101-872A-FD9B3C9DE94A}" destId="{37D56104-E7EB-46C7-85AB-EAAF2D28641E}" srcOrd="0" destOrd="0" presId="urn:microsoft.com/office/officeart/2005/8/layout/venn2"/>
    <dgm:cxn modelId="{43053D5D-3C60-49F9-8A20-E503BE6C50A6}" srcId="{94AE67A6-4A7F-4041-8DFB-26B34F0E5F87}" destId="{9664C385-0A53-4166-8ED2-83BCE8DAB046}" srcOrd="3" destOrd="0" parTransId="{9D0E1487-3C4B-411E-B801-7DC838E6ACA2}" sibTransId="{FE323297-B6BA-41DF-98BB-4AABF0732D47}"/>
    <dgm:cxn modelId="{0D762DF3-CB81-49F7-A012-19121F68F13D}" type="presOf" srcId="{9664C385-0A53-4166-8ED2-83BCE8DAB046}" destId="{B572E9D9-71D7-48AA-B26C-19F92EDE90BC}" srcOrd="1" destOrd="0" presId="urn:microsoft.com/office/officeart/2005/8/layout/venn2"/>
    <dgm:cxn modelId="{E44E6AEB-C6C6-4E80-BFD9-330B875E26F3}" type="presOf" srcId="{51C979F9-21C2-444B-BC49-EABA02F7E77F}" destId="{E776F1D0-C17F-4374-91E3-95C9D2245984}" srcOrd="0" destOrd="0" presId="urn:microsoft.com/office/officeart/2005/8/layout/venn2"/>
    <dgm:cxn modelId="{A2D0BA55-940B-456A-BE07-87CED8FEB71E}" srcId="{94AE67A6-4A7F-4041-8DFB-26B34F0E5F87}" destId="{00C960B8-5B21-42FC-B1E9-BFE617D87B5C}" srcOrd="0" destOrd="0" parTransId="{0C2FD174-3AA4-4FCC-A803-31CF264DD64E}" sibTransId="{852135A2-9772-4826-A2C9-F904BC29BD15}"/>
    <dgm:cxn modelId="{4C283003-4A50-4CBC-933E-BD7AC49CCFA6}" type="presOf" srcId="{E5F6236D-A0C2-4801-B15B-27EC07D4F67B}" destId="{D830DCCA-14E3-4EDC-AF30-987EA604139A}" srcOrd="1" destOrd="0" presId="urn:microsoft.com/office/officeart/2005/8/layout/venn2"/>
    <dgm:cxn modelId="{E22E62C2-8308-4E79-AEB1-7AB60D8AF88C}" type="presOf" srcId="{00C960B8-5B21-42FC-B1E9-BFE617D87B5C}" destId="{1847AE4D-F5B4-486F-984D-42FE36922110}" srcOrd="1" destOrd="0" presId="urn:microsoft.com/office/officeart/2005/8/layout/venn2"/>
    <dgm:cxn modelId="{FE1A3526-12D4-4BC6-8FF4-3D0B150C43AE}" type="presOf" srcId="{197A726D-C95E-4ED1-A83D-1BD4A87D581C}" destId="{4B10C2CE-843F-4FD3-B9AA-2FE07BC803CC}" srcOrd="1" destOrd="0" presId="urn:microsoft.com/office/officeart/2005/8/layout/venn2"/>
    <dgm:cxn modelId="{AA7509CD-7D80-4044-AFA4-76C4C1ACB35E}" type="presOf" srcId="{00C960B8-5B21-42FC-B1E9-BFE617D87B5C}" destId="{DDE39521-2419-4BDC-A525-11ABDCD35396}" srcOrd="0" destOrd="0" presId="urn:microsoft.com/office/officeart/2005/8/layout/venn2"/>
    <dgm:cxn modelId="{47FE520C-F1BB-4325-9121-D38178B363E7}" type="presOf" srcId="{197A726D-C95E-4ED1-A83D-1BD4A87D581C}" destId="{99E8C778-0EF3-44F8-8B84-51BCE6BE600F}" srcOrd="0" destOrd="0" presId="urn:microsoft.com/office/officeart/2005/8/layout/venn2"/>
    <dgm:cxn modelId="{997E2E66-AC91-46FF-B356-2A4837733910}" type="presParOf" srcId="{A811EDA8-9F62-4691-8713-F13A50971F99}" destId="{047581B2-6B44-4DE6-9B28-B2B4318CC253}" srcOrd="0" destOrd="0" presId="urn:microsoft.com/office/officeart/2005/8/layout/venn2"/>
    <dgm:cxn modelId="{FEE91674-2F76-426D-9B9F-20123578560B}" type="presParOf" srcId="{047581B2-6B44-4DE6-9B28-B2B4318CC253}" destId="{DDE39521-2419-4BDC-A525-11ABDCD35396}" srcOrd="0" destOrd="0" presId="urn:microsoft.com/office/officeart/2005/8/layout/venn2"/>
    <dgm:cxn modelId="{F0148AE4-2F33-4D3B-93CE-DA71668EBE90}" type="presParOf" srcId="{047581B2-6B44-4DE6-9B28-B2B4318CC253}" destId="{1847AE4D-F5B4-486F-984D-42FE36922110}" srcOrd="1" destOrd="0" presId="urn:microsoft.com/office/officeart/2005/8/layout/venn2"/>
    <dgm:cxn modelId="{6DB1917A-FDD9-4CA6-AF1C-2C32627AC923}" type="presParOf" srcId="{A811EDA8-9F62-4691-8713-F13A50971F99}" destId="{E89ECF5E-0FED-4FD2-84C8-EA5A39E3F98F}" srcOrd="1" destOrd="0" presId="urn:microsoft.com/office/officeart/2005/8/layout/venn2"/>
    <dgm:cxn modelId="{4B8DCC2F-2DEA-4255-B6B3-7F74E427B735}" type="presParOf" srcId="{E89ECF5E-0FED-4FD2-84C8-EA5A39E3F98F}" destId="{37D56104-E7EB-46C7-85AB-EAAF2D28641E}" srcOrd="0" destOrd="0" presId="urn:microsoft.com/office/officeart/2005/8/layout/venn2"/>
    <dgm:cxn modelId="{F7B66A02-C7FC-437B-A543-05A1373844D6}" type="presParOf" srcId="{E89ECF5E-0FED-4FD2-84C8-EA5A39E3F98F}" destId="{68257933-1706-4EDD-9B57-50D78ABB3D55}" srcOrd="1" destOrd="0" presId="urn:microsoft.com/office/officeart/2005/8/layout/venn2"/>
    <dgm:cxn modelId="{B0161A27-1A7A-4251-AA71-D8E1320E8FAB}" type="presParOf" srcId="{A811EDA8-9F62-4691-8713-F13A50971F99}" destId="{CF2AE05F-16D8-4944-A6BF-C4CE1796D21C}" srcOrd="2" destOrd="0" presId="urn:microsoft.com/office/officeart/2005/8/layout/venn2"/>
    <dgm:cxn modelId="{C6D320D8-2A97-492E-8DFB-7C742A1541F0}" type="presParOf" srcId="{CF2AE05F-16D8-4944-A6BF-C4CE1796D21C}" destId="{691880C8-A7E7-459E-A965-72469EB73A70}" srcOrd="0" destOrd="0" presId="urn:microsoft.com/office/officeart/2005/8/layout/venn2"/>
    <dgm:cxn modelId="{3592DF7D-371B-43D6-8092-AE91C335DCC9}" type="presParOf" srcId="{CF2AE05F-16D8-4944-A6BF-C4CE1796D21C}" destId="{D830DCCA-14E3-4EDC-AF30-987EA604139A}" srcOrd="1" destOrd="0" presId="urn:microsoft.com/office/officeart/2005/8/layout/venn2"/>
    <dgm:cxn modelId="{64FC1C55-9A5B-438F-AFDF-6AB5B3AD241B}" type="presParOf" srcId="{A811EDA8-9F62-4691-8713-F13A50971F99}" destId="{18531FEC-B7E9-4E85-996B-4851B6EBB460}" srcOrd="3" destOrd="0" presId="urn:microsoft.com/office/officeart/2005/8/layout/venn2"/>
    <dgm:cxn modelId="{0BE46097-9CE8-4E9A-9169-1639D0BB35F7}" type="presParOf" srcId="{18531FEC-B7E9-4E85-996B-4851B6EBB460}" destId="{708739FC-4756-408A-93A0-FCD08D66801A}" srcOrd="0" destOrd="0" presId="urn:microsoft.com/office/officeart/2005/8/layout/venn2"/>
    <dgm:cxn modelId="{F631C53B-48C0-4D2E-AB59-CEB417AD9936}" type="presParOf" srcId="{18531FEC-B7E9-4E85-996B-4851B6EBB460}" destId="{B572E9D9-71D7-48AA-B26C-19F92EDE90BC}" srcOrd="1" destOrd="0" presId="urn:microsoft.com/office/officeart/2005/8/layout/venn2"/>
    <dgm:cxn modelId="{60CA9D48-4D0E-4E0F-9559-464770A7EBDB}" type="presParOf" srcId="{A811EDA8-9F62-4691-8713-F13A50971F99}" destId="{12861A4C-94DE-4D8A-B82E-F8E3148C241E}" srcOrd="4" destOrd="0" presId="urn:microsoft.com/office/officeart/2005/8/layout/venn2"/>
    <dgm:cxn modelId="{AEE2194B-85C6-48D2-AC89-EFCDFD9E4858}" type="presParOf" srcId="{12861A4C-94DE-4D8A-B82E-F8E3148C241E}" destId="{E776F1D0-C17F-4374-91E3-95C9D2245984}" srcOrd="0" destOrd="0" presId="urn:microsoft.com/office/officeart/2005/8/layout/venn2"/>
    <dgm:cxn modelId="{9114A60F-D818-4997-87DD-A99AAB43F031}" type="presParOf" srcId="{12861A4C-94DE-4D8A-B82E-F8E3148C241E}" destId="{864B163D-9F06-42D9-924B-796127015BB3}" srcOrd="1" destOrd="0" presId="urn:microsoft.com/office/officeart/2005/8/layout/venn2"/>
    <dgm:cxn modelId="{8E737B18-5766-4288-9E84-9373C52D60A3}" type="presParOf" srcId="{A811EDA8-9F62-4691-8713-F13A50971F99}" destId="{2370667D-B7C6-449C-8A95-CE6E1CFE27E4}" srcOrd="5" destOrd="0" presId="urn:microsoft.com/office/officeart/2005/8/layout/venn2"/>
    <dgm:cxn modelId="{6DD312D5-5A77-41D6-95D3-5BD11A04E773}" type="presParOf" srcId="{2370667D-B7C6-449C-8A95-CE6E1CFE27E4}" destId="{3853C169-9BD2-4AFC-9DAE-9D619AC5BC2F}" srcOrd="0" destOrd="0" presId="urn:microsoft.com/office/officeart/2005/8/layout/venn2"/>
    <dgm:cxn modelId="{7DA48F8F-2CA3-40B7-BEDC-D26F402EFC89}" type="presParOf" srcId="{2370667D-B7C6-449C-8A95-CE6E1CFE27E4}" destId="{F3061880-A72A-4804-AB2B-CCA6CAB9968B}" srcOrd="1" destOrd="0" presId="urn:microsoft.com/office/officeart/2005/8/layout/venn2"/>
    <dgm:cxn modelId="{42ED2EC2-ED6F-4542-AF9A-D7A8B9B60DA8}" type="presParOf" srcId="{A811EDA8-9F62-4691-8713-F13A50971F99}" destId="{98C2F392-84BC-4DA3-A34D-0AF36C6D57CD}" srcOrd="6" destOrd="0" presId="urn:microsoft.com/office/officeart/2005/8/layout/venn2"/>
    <dgm:cxn modelId="{EF1BCA56-29C3-4B9A-8194-6CD2D22B917E}" type="presParOf" srcId="{98C2F392-84BC-4DA3-A34D-0AF36C6D57CD}" destId="{99E8C778-0EF3-44F8-8B84-51BCE6BE600F}" srcOrd="0" destOrd="0" presId="urn:microsoft.com/office/officeart/2005/8/layout/venn2"/>
    <dgm:cxn modelId="{12294925-2F45-460D-8262-3490240AC123}" type="presParOf" srcId="{98C2F392-84BC-4DA3-A34D-0AF36C6D57CD}" destId="{4B10C2CE-843F-4FD3-B9AA-2FE07BC803CC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FE4C6AD-450D-4F59-B05D-367D371B1CF3}" type="doc">
      <dgm:prSet loTypeId="urn:microsoft.com/office/officeart/2005/8/layout/radial6" loCatId="cycle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it-IT"/>
        </a:p>
      </dgm:t>
    </dgm:pt>
    <dgm:pt modelId="{0C74B954-0CF2-45C3-B88F-BC6602F67964}">
      <dgm:prSet phldrT="[Testo]" custT="1"/>
      <dgm:spPr>
        <a:solidFill>
          <a:srgbClr val="A7C4EB"/>
        </a:solidFill>
      </dgm:spPr>
      <dgm:t>
        <a:bodyPr/>
        <a:lstStyle/>
        <a:p>
          <a:r>
            <a:rPr lang="it-IT" sz="11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Individuare le attività a rischio reato</a:t>
          </a:r>
          <a:endParaRPr lang="it-IT" sz="1100" b="1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EC034BC3-7703-4FA1-980D-7084864804BF}" type="parTrans" cxnId="{42F9FE54-C723-41E8-B806-7EBEF65AF646}">
      <dgm:prSet/>
      <dgm:spPr/>
      <dgm:t>
        <a:bodyPr/>
        <a:lstStyle/>
        <a:p>
          <a:endParaRPr lang="it-IT"/>
        </a:p>
      </dgm:t>
    </dgm:pt>
    <dgm:pt modelId="{1C4234CA-EEA0-4326-BB59-EC48A84860E9}" type="sibTrans" cxnId="{42F9FE54-C723-41E8-B806-7EBEF65AF646}">
      <dgm:prSet/>
      <dgm:spPr/>
      <dgm:t>
        <a:bodyPr/>
        <a:lstStyle/>
        <a:p>
          <a:endParaRPr lang="it-IT"/>
        </a:p>
      </dgm:t>
    </dgm:pt>
    <dgm:pt modelId="{0F2A2220-6038-44EB-A226-DCD6978D07F5}">
      <dgm:prSet phldrT="[Testo]" custT="1"/>
      <dgm:spPr>
        <a:solidFill>
          <a:srgbClr val="95B8E7"/>
        </a:solidFill>
      </dgm:spPr>
      <dgm:t>
        <a:bodyPr/>
        <a:lstStyle/>
        <a:p>
          <a:r>
            <a:rPr lang="it-IT" sz="11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Individuare modalità di gestione delle risorse finanziarie</a:t>
          </a:r>
          <a:endParaRPr lang="it-IT" sz="1100" b="1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26D81BAA-BF72-4EF0-941A-10E7BF9CF7FA}" type="parTrans" cxnId="{8B904B66-FCFA-4CF4-9E89-28D308D2CB0F}">
      <dgm:prSet/>
      <dgm:spPr/>
      <dgm:t>
        <a:bodyPr/>
        <a:lstStyle/>
        <a:p>
          <a:endParaRPr lang="it-IT"/>
        </a:p>
      </dgm:t>
    </dgm:pt>
    <dgm:pt modelId="{40678C93-0352-4274-A13B-8F8824EBE15D}" type="sibTrans" cxnId="{8B904B66-FCFA-4CF4-9E89-28D308D2CB0F}">
      <dgm:prSet/>
      <dgm:spPr/>
      <dgm:t>
        <a:bodyPr/>
        <a:lstStyle/>
        <a:p>
          <a:endParaRPr lang="it-IT"/>
        </a:p>
      </dgm:t>
    </dgm:pt>
    <dgm:pt modelId="{5596C35B-CA5C-43B3-904A-5525EC69E78A}">
      <dgm:prSet phldrT="[Testo]" custT="1"/>
      <dgm:spPr>
        <a:solidFill>
          <a:srgbClr val="A7C4EB"/>
        </a:solidFill>
      </dgm:spPr>
      <dgm:t>
        <a:bodyPr/>
        <a:lstStyle/>
        <a:p>
          <a:r>
            <a:rPr lang="it-IT" sz="11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Prevedere obblighi di informazione all’Organismo di Garanzia</a:t>
          </a:r>
          <a:endParaRPr lang="it-IT" sz="1100" b="1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863386D8-20E1-4CDD-BA28-FC948D353072}" type="parTrans" cxnId="{8403A71F-02F8-4703-B5B6-9681001A7894}">
      <dgm:prSet/>
      <dgm:spPr/>
      <dgm:t>
        <a:bodyPr/>
        <a:lstStyle/>
        <a:p>
          <a:endParaRPr lang="it-IT"/>
        </a:p>
      </dgm:t>
    </dgm:pt>
    <dgm:pt modelId="{9B1E3C51-0545-458C-88CA-75F924C4522A}" type="sibTrans" cxnId="{8403A71F-02F8-4703-B5B6-9681001A7894}">
      <dgm:prSet/>
      <dgm:spPr/>
      <dgm:t>
        <a:bodyPr/>
        <a:lstStyle/>
        <a:p>
          <a:endParaRPr lang="it-IT"/>
        </a:p>
      </dgm:t>
    </dgm:pt>
    <dgm:pt modelId="{10489F34-5E57-45BE-A0DC-89807E5D023A}">
      <dgm:prSet phldrT="[Testo]" custT="1"/>
      <dgm:spPr>
        <a:gradFill flip="none" rotWithShape="0">
          <a:gsLst>
            <a:gs pos="0">
              <a:schemeClr val="accent1">
                <a:shade val="80000"/>
                <a:hueOff val="0"/>
                <a:satOff val="0"/>
                <a:lumOff val="0"/>
                <a:shade val="30000"/>
                <a:satMod val="115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shade val="67500"/>
                <a:satMod val="115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shade val="100000"/>
                <a:satMod val="115000"/>
              </a:schemeClr>
            </a:gs>
          </a:gsLst>
          <a:lin ang="5400000" scaled="1"/>
          <a:tileRect/>
        </a:gradFill>
      </dgm:spPr>
      <dgm:t>
        <a:bodyPr/>
        <a:lstStyle/>
        <a:p>
          <a:r>
            <a:rPr lang="it-IT" sz="14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Modello 231</a:t>
          </a:r>
          <a:endParaRPr lang="it-IT" sz="1400" b="1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433E8C7D-558D-4A87-AD6F-2685C2D33BC5}" type="sibTrans" cxnId="{8369E832-4DFB-43DD-B7D7-B6A8AAD979FE}">
      <dgm:prSet/>
      <dgm:spPr/>
      <dgm:t>
        <a:bodyPr/>
        <a:lstStyle/>
        <a:p>
          <a:endParaRPr lang="it-IT"/>
        </a:p>
      </dgm:t>
    </dgm:pt>
    <dgm:pt modelId="{2445D1FF-88E1-4175-B59C-3264C2761150}" type="parTrans" cxnId="{8369E832-4DFB-43DD-B7D7-B6A8AAD979FE}">
      <dgm:prSet/>
      <dgm:spPr/>
      <dgm:t>
        <a:bodyPr/>
        <a:lstStyle/>
        <a:p>
          <a:endParaRPr lang="it-IT"/>
        </a:p>
      </dgm:t>
    </dgm:pt>
    <dgm:pt modelId="{5BFB54D5-B653-4B14-8D28-EABFB0925F28}">
      <dgm:prSet phldrT="[Testo]" custT="1"/>
      <dgm:spPr>
        <a:solidFill>
          <a:srgbClr val="A7C4EB"/>
        </a:solidFill>
      </dgm:spPr>
      <dgm:t>
        <a:bodyPr/>
        <a:lstStyle/>
        <a:p>
          <a:r>
            <a:rPr lang="it-IT" sz="11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Prevedere regole di comportamento e specifici protocolli</a:t>
          </a:r>
          <a:endParaRPr lang="it-IT" sz="1100" b="1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0E177B8C-DDEA-4727-98A2-D101864CED65}" type="sibTrans" cxnId="{21B1C0B5-C9BE-46C0-B147-3E9DDA6F2B69}">
      <dgm:prSet/>
      <dgm:spPr/>
      <dgm:t>
        <a:bodyPr/>
        <a:lstStyle/>
        <a:p>
          <a:endParaRPr lang="it-IT"/>
        </a:p>
      </dgm:t>
    </dgm:pt>
    <dgm:pt modelId="{8636070C-DA2D-4CB4-86AA-B388F08CC7AA}" type="parTrans" cxnId="{21B1C0B5-C9BE-46C0-B147-3E9DDA6F2B69}">
      <dgm:prSet/>
      <dgm:spPr/>
      <dgm:t>
        <a:bodyPr/>
        <a:lstStyle/>
        <a:p>
          <a:endParaRPr lang="it-IT"/>
        </a:p>
      </dgm:t>
    </dgm:pt>
    <dgm:pt modelId="{49690B72-2AA7-474E-B580-30BD5052140B}">
      <dgm:prSet phldrT="[Testo]" custT="1"/>
      <dgm:spPr>
        <a:solidFill>
          <a:srgbClr val="95B8E7"/>
        </a:solidFill>
      </dgm:spPr>
      <dgm:t>
        <a:bodyPr/>
        <a:lstStyle/>
        <a:p>
          <a:r>
            <a:rPr lang="it-IT" sz="11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Introdurre un sistema disciplinare idoneo a sanzionare il mancato rispetto del Modello</a:t>
          </a:r>
          <a:endParaRPr lang="it-IT" sz="1100" b="1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0E91977-D8C9-478A-86DB-7960C8ABE8F8}" type="parTrans" cxnId="{8753ED68-5471-4D5A-8759-4BE329991FC2}">
      <dgm:prSet/>
      <dgm:spPr/>
      <dgm:t>
        <a:bodyPr/>
        <a:lstStyle/>
        <a:p>
          <a:endParaRPr lang="it-IT"/>
        </a:p>
      </dgm:t>
    </dgm:pt>
    <dgm:pt modelId="{74B2F5B4-EB1C-4126-A985-11BC6B327899}" type="sibTrans" cxnId="{8753ED68-5471-4D5A-8759-4BE329991FC2}">
      <dgm:prSet/>
      <dgm:spPr/>
      <dgm:t>
        <a:bodyPr/>
        <a:lstStyle/>
        <a:p>
          <a:endParaRPr lang="it-IT"/>
        </a:p>
      </dgm:t>
    </dgm:pt>
    <dgm:pt modelId="{5C10460C-EB69-4A91-A3D9-28D3916F03D7}" type="pres">
      <dgm:prSet presAssocID="{4FE4C6AD-450D-4F59-B05D-367D371B1CF3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39FF2EC1-2B32-47F2-84DA-03E34A2E6FC0}" type="pres">
      <dgm:prSet presAssocID="{10489F34-5E57-45BE-A0DC-89807E5D023A}" presName="centerShape" presStyleLbl="node0" presStyleIdx="0" presStyleCnt="1" custLinFactNeighborX="2002" custLinFactNeighborY="2011"/>
      <dgm:spPr/>
      <dgm:t>
        <a:bodyPr/>
        <a:lstStyle/>
        <a:p>
          <a:endParaRPr lang="it-IT"/>
        </a:p>
      </dgm:t>
    </dgm:pt>
    <dgm:pt modelId="{BFF65A9C-EFD5-435E-993B-1726015B3F1A}" type="pres">
      <dgm:prSet presAssocID="{0C74B954-0CF2-45C3-B88F-BC6602F67964}" presName="node" presStyleLbl="node1" presStyleIdx="0" presStyleCnt="5" custScaleX="208699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E35EEE4-56E4-4D16-964D-22BE188B18BB}" type="pres">
      <dgm:prSet presAssocID="{0C74B954-0CF2-45C3-B88F-BC6602F67964}" presName="dummy" presStyleCnt="0"/>
      <dgm:spPr/>
    </dgm:pt>
    <dgm:pt modelId="{95ED23BA-663B-4C25-BDE4-D08BE2D30319}" type="pres">
      <dgm:prSet presAssocID="{1C4234CA-EEA0-4326-BB59-EC48A84860E9}" presName="sibTrans" presStyleLbl="sibTrans2D1" presStyleIdx="0" presStyleCnt="5"/>
      <dgm:spPr/>
      <dgm:t>
        <a:bodyPr/>
        <a:lstStyle/>
        <a:p>
          <a:endParaRPr lang="it-IT"/>
        </a:p>
      </dgm:t>
    </dgm:pt>
    <dgm:pt modelId="{9832CFB0-C8D5-4B7C-9152-367ACCAFCA06}" type="pres">
      <dgm:prSet presAssocID="{5BFB54D5-B653-4B14-8D28-EABFB0925F28}" presName="node" presStyleLbl="node1" presStyleIdx="1" presStyleCnt="5" custScaleX="188125" custRadScaleRad="123478" custRadScaleInc="14612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08AB9634-61F3-4F31-8226-AD89A3A1E4F0}" type="pres">
      <dgm:prSet presAssocID="{5BFB54D5-B653-4B14-8D28-EABFB0925F28}" presName="dummy" presStyleCnt="0"/>
      <dgm:spPr/>
    </dgm:pt>
    <dgm:pt modelId="{4D0E0CC2-E850-4446-B3B9-321E887B0367}" type="pres">
      <dgm:prSet presAssocID="{0E177B8C-DDEA-4727-98A2-D101864CED65}" presName="sibTrans" presStyleLbl="sibTrans2D1" presStyleIdx="1" presStyleCnt="5"/>
      <dgm:spPr/>
      <dgm:t>
        <a:bodyPr/>
        <a:lstStyle/>
        <a:p>
          <a:endParaRPr lang="it-IT"/>
        </a:p>
      </dgm:t>
    </dgm:pt>
    <dgm:pt modelId="{F429A8DC-9300-41D6-8F7F-D0F23ABCEF10}" type="pres">
      <dgm:prSet presAssocID="{0F2A2220-6038-44EB-A226-DCD6978D07F5}" presName="node" presStyleLbl="node1" presStyleIdx="2" presStyleCnt="5" custScaleX="208699" custRadScaleRad="111512" custRadScaleInc="-48129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7179620C-13DD-47EB-A6C6-709D52AC9BCA}" type="pres">
      <dgm:prSet presAssocID="{0F2A2220-6038-44EB-A226-DCD6978D07F5}" presName="dummy" presStyleCnt="0"/>
      <dgm:spPr/>
    </dgm:pt>
    <dgm:pt modelId="{BDA90231-8371-4B03-BB1D-0A0B9848F154}" type="pres">
      <dgm:prSet presAssocID="{40678C93-0352-4274-A13B-8F8824EBE15D}" presName="sibTrans" presStyleLbl="sibTrans2D1" presStyleIdx="2" presStyleCnt="5"/>
      <dgm:spPr/>
      <dgm:t>
        <a:bodyPr/>
        <a:lstStyle/>
        <a:p>
          <a:endParaRPr lang="it-IT"/>
        </a:p>
      </dgm:t>
    </dgm:pt>
    <dgm:pt modelId="{7F8F438D-0000-4449-A7F2-08E017005362}" type="pres">
      <dgm:prSet presAssocID="{5596C35B-CA5C-43B3-904A-5525EC69E78A}" presName="node" presStyleLbl="node1" presStyleIdx="3" presStyleCnt="5" custScaleX="207600" custRadScaleRad="105124" custRadScaleInc="31432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7E8C533-3C42-4C65-A266-429E87683DD5}" type="pres">
      <dgm:prSet presAssocID="{5596C35B-CA5C-43B3-904A-5525EC69E78A}" presName="dummy" presStyleCnt="0"/>
      <dgm:spPr/>
    </dgm:pt>
    <dgm:pt modelId="{C90A7F13-9293-41F3-8A01-55B242FA631D}" type="pres">
      <dgm:prSet presAssocID="{9B1E3C51-0545-458C-88CA-75F924C4522A}" presName="sibTrans" presStyleLbl="sibTrans2D1" presStyleIdx="3" presStyleCnt="5"/>
      <dgm:spPr/>
      <dgm:t>
        <a:bodyPr/>
        <a:lstStyle/>
        <a:p>
          <a:endParaRPr lang="it-IT"/>
        </a:p>
      </dgm:t>
    </dgm:pt>
    <dgm:pt modelId="{78137AE8-0F41-4E40-BC5C-7DB3EAA027CC}" type="pres">
      <dgm:prSet presAssocID="{49690B72-2AA7-474E-B580-30BD5052140B}" presName="node" presStyleLbl="node1" presStyleIdx="4" presStyleCnt="5" custScaleX="191311" custScaleY="125440" custRadScaleRad="111687" custRadScaleInc="-807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7F3537D-E465-453D-8B90-25E009D70F47}" type="pres">
      <dgm:prSet presAssocID="{49690B72-2AA7-474E-B580-30BD5052140B}" presName="dummy" presStyleCnt="0"/>
      <dgm:spPr/>
    </dgm:pt>
    <dgm:pt modelId="{0441BDC1-F172-42F4-A2F3-4749A49D3863}" type="pres">
      <dgm:prSet presAssocID="{74B2F5B4-EB1C-4126-A985-11BC6B327899}" presName="sibTrans" presStyleLbl="sibTrans2D1" presStyleIdx="4" presStyleCnt="5"/>
      <dgm:spPr/>
      <dgm:t>
        <a:bodyPr/>
        <a:lstStyle/>
        <a:p>
          <a:endParaRPr lang="it-IT"/>
        </a:p>
      </dgm:t>
    </dgm:pt>
  </dgm:ptLst>
  <dgm:cxnLst>
    <dgm:cxn modelId="{8753ED68-5471-4D5A-8759-4BE329991FC2}" srcId="{10489F34-5E57-45BE-A0DC-89807E5D023A}" destId="{49690B72-2AA7-474E-B580-30BD5052140B}" srcOrd="4" destOrd="0" parTransId="{70E91977-D8C9-478A-86DB-7960C8ABE8F8}" sibTransId="{74B2F5B4-EB1C-4126-A985-11BC6B327899}"/>
    <dgm:cxn modelId="{9A448F00-F167-4F19-AA36-C3BF6A75228A}" type="presOf" srcId="{0C74B954-0CF2-45C3-B88F-BC6602F67964}" destId="{BFF65A9C-EFD5-435E-993B-1726015B3F1A}" srcOrd="0" destOrd="0" presId="urn:microsoft.com/office/officeart/2005/8/layout/radial6"/>
    <dgm:cxn modelId="{42F9FE54-C723-41E8-B806-7EBEF65AF646}" srcId="{10489F34-5E57-45BE-A0DC-89807E5D023A}" destId="{0C74B954-0CF2-45C3-B88F-BC6602F67964}" srcOrd="0" destOrd="0" parTransId="{EC034BC3-7703-4FA1-980D-7084864804BF}" sibTransId="{1C4234CA-EEA0-4326-BB59-EC48A84860E9}"/>
    <dgm:cxn modelId="{DD024CF2-9189-4455-B99B-1586A76DEF1D}" type="presOf" srcId="{49690B72-2AA7-474E-B580-30BD5052140B}" destId="{78137AE8-0F41-4E40-BC5C-7DB3EAA027CC}" srcOrd="0" destOrd="0" presId="urn:microsoft.com/office/officeart/2005/8/layout/radial6"/>
    <dgm:cxn modelId="{FE93F939-2616-4C0C-BF2F-EACCAF850086}" type="presOf" srcId="{1C4234CA-EEA0-4326-BB59-EC48A84860E9}" destId="{95ED23BA-663B-4C25-BDE4-D08BE2D30319}" srcOrd="0" destOrd="0" presId="urn:microsoft.com/office/officeart/2005/8/layout/radial6"/>
    <dgm:cxn modelId="{DDC379A7-1782-4A7F-BDF4-56BFC3258717}" type="presOf" srcId="{9B1E3C51-0545-458C-88CA-75F924C4522A}" destId="{C90A7F13-9293-41F3-8A01-55B242FA631D}" srcOrd="0" destOrd="0" presId="urn:microsoft.com/office/officeart/2005/8/layout/radial6"/>
    <dgm:cxn modelId="{61F227F8-E37B-42E8-95FE-109EA3FFD33D}" type="presOf" srcId="{5BFB54D5-B653-4B14-8D28-EABFB0925F28}" destId="{9832CFB0-C8D5-4B7C-9152-367ACCAFCA06}" srcOrd="0" destOrd="0" presId="urn:microsoft.com/office/officeart/2005/8/layout/radial6"/>
    <dgm:cxn modelId="{8B904B66-FCFA-4CF4-9E89-28D308D2CB0F}" srcId="{10489F34-5E57-45BE-A0DC-89807E5D023A}" destId="{0F2A2220-6038-44EB-A226-DCD6978D07F5}" srcOrd="2" destOrd="0" parTransId="{26D81BAA-BF72-4EF0-941A-10E7BF9CF7FA}" sibTransId="{40678C93-0352-4274-A13B-8F8824EBE15D}"/>
    <dgm:cxn modelId="{21B1C0B5-C9BE-46C0-B147-3E9DDA6F2B69}" srcId="{10489F34-5E57-45BE-A0DC-89807E5D023A}" destId="{5BFB54D5-B653-4B14-8D28-EABFB0925F28}" srcOrd="1" destOrd="0" parTransId="{8636070C-DA2D-4CB4-86AA-B388F08CC7AA}" sibTransId="{0E177B8C-DDEA-4727-98A2-D101864CED65}"/>
    <dgm:cxn modelId="{1B65BD04-B833-48FA-8748-8C9716D8B3B7}" type="presOf" srcId="{4FE4C6AD-450D-4F59-B05D-367D371B1CF3}" destId="{5C10460C-EB69-4A91-A3D9-28D3916F03D7}" srcOrd="0" destOrd="0" presId="urn:microsoft.com/office/officeart/2005/8/layout/radial6"/>
    <dgm:cxn modelId="{8403A71F-02F8-4703-B5B6-9681001A7894}" srcId="{10489F34-5E57-45BE-A0DC-89807E5D023A}" destId="{5596C35B-CA5C-43B3-904A-5525EC69E78A}" srcOrd="3" destOrd="0" parTransId="{863386D8-20E1-4CDD-BA28-FC948D353072}" sibTransId="{9B1E3C51-0545-458C-88CA-75F924C4522A}"/>
    <dgm:cxn modelId="{B11D2342-A3BC-4063-8A35-B8A7EC27A152}" type="presOf" srcId="{5596C35B-CA5C-43B3-904A-5525EC69E78A}" destId="{7F8F438D-0000-4449-A7F2-08E017005362}" srcOrd="0" destOrd="0" presId="urn:microsoft.com/office/officeart/2005/8/layout/radial6"/>
    <dgm:cxn modelId="{8369E832-4DFB-43DD-B7D7-B6A8AAD979FE}" srcId="{4FE4C6AD-450D-4F59-B05D-367D371B1CF3}" destId="{10489F34-5E57-45BE-A0DC-89807E5D023A}" srcOrd="0" destOrd="0" parTransId="{2445D1FF-88E1-4175-B59C-3264C2761150}" sibTransId="{433E8C7D-558D-4A87-AD6F-2685C2D33BC5}"/>
    <dgm:cxn modelId="{8F915B5D-B3EE-40BD-BBBB-FB3B3B54E21E}" type="presOf" srcId="{74B2F5B4-EB1C-4126-A985-11BC6B327899}" destId="{0441BDC1-F172-42F4-A2F3-4749A49D3863}" srcOrd="0" destOrd="0" presId="urn:microsoft.com/office/officeart/2005/8/layout/radial6"/>
    <dgm:cxn modelId="{A676689A-00D3-47C9-93DA-850D19EA6787}" type="presOf" srcId="{0E177B8C-DDEA-4727-98A2-D101864CED65}" destId="{4D0E0CC2-E850-4446-B3B9-321E887B0367}" srcOrd="0" destOrd="0" presId="urn:microsoft.com/office/officeart/2005/8/layout/radial6"/>
    <dgm:cxn modelId="{5A8B5217-AC32-4BB8-9E55-5E3A3BC6D929}" type="presOf" srcId="{40678C93-0352-4274-A13B-8F8824EBE15D}" destId="{BDA90231-8371-4B03-BB1D-0A0B9848F154}" srcOrd="0" destOrd="0" presId="urn:microsoft.com/office/officeart/2005/8/layout/radial6"/>
    <dgm:cxn modelId="{EF38DE97-4E88-4BD3-98FA-27FA3EB950EF}" type="presOf" srcId="{0F2A2220-6038-44EB-A226-DCD6978D07F5}" destId="{F429A8DC-9300-41D6-8F7F-D0F23ABCEF10}" srcOrd="0" destOrd="0" presId="urn:microsoft.com/office/officeart/2005/8/layout/radial6"/>
    <dgm:cxn modelId="{2DE17BB0-C344-4BCC-9296-071B674A2564}" type="presOf" srcId="{10489F34-5E57-45BE-A0DC-89807E5D023A}" destId="{39FF2EC1-2B32-47F2-84DA-03E34A2E6FC0}" srcOrd="0" destOrd="0" presId="urn:microsoft.com/office/officeart/2005/8/layout/radial6"/>
    <dgm:cxn modelId="{35803866-B39E-4D08-A220-8EE2ED290C62}" type="presParOf" srcId="{5C10460C-EB69-4A91-A3D9-28D3916F03D7}" destId="{39FF2EC1-2B32-47F2-84DA-03E34A2E6FC0}" srcOrd="0" destOrd="0" presId="urn:microsoft.com/office/officeart/2005/8/layout/radial6"/>
    <dgm:cxn modelId="{3C921A3C-77B2-43B1-8566-6ABCDB46054A}" type="presParOf" srcId="{5C10460C-EB69-4A91-A3D9-28D3916F03D7}" destId="{BFF65A9C-EFD5-435E-993B-1726015B3F1A}" srcOrd="1" destOrd="0" presId="urn:microsoft.com/office/officeart/2005/8/layout/radial6"/>
    <dgm:cxn modelId="{E72D59E6-ED06-4770-A9EA-3B7AD20F005C}" type="presParOf" srcId="{5C10460C-EB69-4A91-A3D9-28D3916F03D7}" destId="{2E35EEE4-56E4-4D16-964D-22BE188B18BB}" srcOrd="2" destOrd="0" presId="urn:microsoft.com/office/officeart/2005/8/layout/radial6"/>
    <dgm:cxn modelId="{ED497CAD-8E4A-4E4B-879C-18C8BD036A52}" type="presParOf" srcId="{5C10460C-EB69-4A91-A3D9-28D3916F03D7}" destId="{95ED23BA-663B-4C25-BDE4-D08BE2D30319}" srcOrd="3" destOrd="0" presId="urn:microsoft.com/office/officeart/2005/8/layout/radial6"/>
    <dgm:cxn modelId="{4B697094-E042-4A39-B86C-D9A100E7828F}" type="presParOf" srcId="{5C10460C-EB69-4A91-A3D9-28D3916F03D7}" destId="{9832CFB0-C8D5-4B7C-9152-367ACCAFCA06}" srcOrd="4" destOrd="0" presId="urn:microsoft.com/office/officeart/2005/8/layout/radial6"/>
    <dgm:cxn modelId="{AC918E05-3F19-4561-B95F-AA3664A6AB3E}" type="presParOf" srcId="{5C10460C-EB69-4A91-A3D9-28D3916F03D7}" destId="{08AB9634-61F3-4F31-8226-AD89A3A1E4F0}" srcOrd="5" destOrd="0" presId="urn:microsoft.com/office/officeart/2005/8/layout/radial6"/>
    <dgm:cxn modelId="{C056D5A3-8BA5-4491-8359-7E123F83B0AC}" type="presParOf" srcId="{5C10460C-EB69-4A91-A3D9-28D3916F03D7}" destId="{4D0E0CC2-E850-4446-B3B9-321E887B0367}" srcOrd="6" destOrd="0" presId="urn:microsoft.com/office/officeart/2005/8/layout/radial6"/>
    <dgm:cxn modelId="{BB9DC871-FDB3-4B50-AFC8-0E59387748DF}" type="presParOf" srcId="{5C10460C-EB69-4A91-A3D9-28D3916F03D7}" destId="{F429A8DC-9300-41D6-8F7F-D0F23ABCEF10}" srcOrd="7" destOrd="0" presId="urn:microsoft.com/office/officeart/2005/8/layout/radial6"/>
    <dgm:cxn modelId="{217A4085-9D96-4947-A41B-BEA57F0DB247}" type="presParOf" srcId="{5C10460C-EB69-4A91-A3D9-28D3916F03D7}" destId="{7179620C-13DD-47EB-A6C6-709D52AC9BCA}" srcOrd="8" destOrd="0" presId="urn:microsoft.com/office/officeart/2005/8/layout/radial6"/>
    <dgm:cxn modelId="{19F9A92F-0884-4F56-9195-08A201F4C7EE}" type="presParOf" srcId="{5C10460C-EB69-4A91-A3D9-28D3916F03D7}" destId="{BDA90231-8371-4B03-BB1D-0A0B9848F154}" srcOrd="9" destOrd="0" presId="urn:microsoft.com/office/officeart/2005/8/layout/radial6"/>
    <dgm:cxn modelId="{D31D64C4-2AAD-4F4D-8830-26783B1E261E}" type="presParOf" srcId="{5C10460C-EB69-4A91-A3D9-28D3916F03D7}" destId="{7F8F438D-0000-4449-A7F2-08E017005362}" srcOrd="10" destOrd="0" presId="urn:microsoft.com/office/officeart/2005/8/layout/radial6"/>
    <dgm:cxn modelId="{86397641-4A81-49F5-8635-6C0B0832E3AC}" type="presParOf" srcId="{5C10460C-EB69-4A91-A3D9-28D3916F03D7}" destId="{27E8C533-3C42-4C65-A266-429E87683DD5}" srcOrd="11" destOrd="0" presId="urn:microsoft.com/office/officeart/2005/8/layout/radial6"/>
    <dgm:cxn modelId="{F750CF2C-9880-4D13-98D5-4853351A927A}" type="presParOf" srcId="{5C10460C-EB69-4A91-A3D9-28D3916F03D7}" destId="{C90A7F13-9293-41F3-8A01-55B242FA631D}" srcOrd="12" destOrd="0" presId="urn:microsoft.com/office/officeart/2005/8/layout/radial6"/>
    <dgm:cxn modelId="{38DA825F-09D3-41EB-8C90-954113CC0749}" type="presParOf" srcId="{5C10460C-EB69-4A91-A3D9-28D3916F03D7}" destId="{78137AE8-0F41-4E40-BC5C-7DB3EAA027CC}" srcOrd="13" destOrd="0" presId="urn:microsoft.com/office/officeart/2005/8/layout/radial6"/>
    <dgm:cxn modelId="{2942261D-512F-49B8-9F85-A7D8ADC327BD}" type="presParOf" srcId="{5C10460C-EB69-4A91-A3D9-28D3916F03D7}" destId="{A7F3537D-E465-453D-8B90-25E009D70F47}" srcOrd="14" destOrd="0" presId="urn:microsoft.com/office/officeart/2005/8/layout/radial6"/>
    <dgm:cxn modelId="{38C0A52D-5C73-40B3-B5C5-6737FF927FCC}" type="presParOf" srcId="{5C10460C-EB69-4A91-A3D9-28D3916F03D7}" destId="{0441BDC1-F172-42F4-A2F3-4749A49D3863}" srcOrd="15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E39521-2419-4BDC-A525-11ABDCD35396}">
      <dsp:nvSpPr>
        <dsp:cNvPr id="0" name=""/>
        <dsp:cNvSpPr/>
      </dsp:nvSpPr>
      <dsp:spPr>
        <a:xfrm>
          <a:off x="965695" y="0"/>
          <a:ext cx="4137659" cy="4137659"/>
        </a:xfrm>
        <a:prstGeom prst="ellipse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500" kern="1200" dirty="0"/>
        </a:p>
      </dsp:txBody>
      <dsp:txXfrm>
        <a:off x="2258713" y="206882"/>
        <a:ext cx="1551622" cy="413765"/>
      </dsp:txXfrm>
    </dsp:sp>
    <dsp:sp modelId="{37D56104-E7EB-46C7-85AB-EAAF2D28641E}">
      <dsp:nvSpPr>
        <dsp:cNvPr id="0" name=""/>
        <dsp:cNvSpPr/>
      </dsp:nvSpPr>
      <dsp:spPr>
        <a:xfrm>
          <a:off x="1276019" y="620648"/>
          <a:ext cx="3517010" cy="3517010"/>
        </a:xfrm>
        <a:prstGeom prst="ellipse">
          <a:avLst/>
        </a:prstGeom>
        <a:solidFill>
          <a:schemeClr val="accent1">
            <a:shade val="80000"/>
            <a:hueOff val="3230"/>
            <a:satOff val="5969"/>
            <a:lumOff val="183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400" kern="1200" dirty="0"/>
        </a:p>
      </dsp:txBody>
      <dsp:txXfrm>
        <a:off x="2276169" y="822876"/>
        <a:ext cx="1516710" cy="404456"/>
      </dsp:txXfrm>
    </dsp:sp>
    <dsp:sp modelId="{691880C8-A7E7-459E-A965-72469EB73A70}">
      <dsp:nvSpPr>
        <dsp:cNvPr id="0" name=""/>
        <dsp:cNvSpPr/>
      </dsp:nvSpPr>
      <dsp:spPr>
        <a:xfrm>
          <a:off x="1667703" y="1241297"/>
          <a:ext cx="2896361" cy="2896361"/>
        </a:xfrm>
        <a:prstGeom prst="ellipse">
          <a:avLst/>
        </a:prstGeom>
        <a:solidFill>
          <a:schemeClr val="accent1">
            <a:shade val="80000"/>
            <a:hueOff val="6460"/>
            <a:satOff val="11938"/>
            <a:lumOff val="367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400" kern="1200" dirty="0"/>
        </a:p>
      </dsp:txBody>
      <dsp:txXfrm>
        <a:off x="2366450" y="1441146"/>
        <a:ext cx="1498866" cy="399697"/>
      </dsp:txXfrm>
    </dsp:sp>
    <dsp:sp modelId="{708739FC-4756-408A-93A0-FCD08D66801A}">
      <dsp:nvSpPr>
        <dsp:cNvPr id="0" name=""/>
        <dsp:cNvSpPr/>
      </dsp:nvSpPr>
      <dsp:spPr>
        <a:xfrm>
          <a:off x="1950990" y="1861946"/>
          <a:ext cx="2275712" cy="2275712"/>
        </a:xfrm>
        <a:prstGeom prst="ellipse">
          <a:avLst/>
        </a:prstGeom>
        <a:solidFill>
          <a:schemeClr val="accent1">
            <a:shade val="80000"/>
            <a:hueOff val="9690"/>
            <a:satOff val="17908"/>
            <a:lumOff val="550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400" kern="1200" dirty="0"/>
        </a:p>
      </dsp:txBody>
      <dsp:txXfrm>
        <a:off x="2474403" y="2066760"/>
        <a:ext cx="1228884" cy="409628"/>
      </dsp:txXfrm>
    </dsp:sp>
    <dsp:sp modelId="{E776F1D0-C17F-4374-91E3-95C9D2245984}">
      <dsp:nvSpPr>
        <dsp:cNvPr id="0" name=""/>
        <dsp:cNvSpPr/>
      </dsp:nvSpPr>
      <dsp:spPr>
        <a:xfrm>
          <a:off x="2206993" y="2482595"/>
          <a:ext cx="1655063" cy="1655063"/>
        </a:xfrm>
        <a:prstGeom prst="ellipse">
          <a:avLst/>
        </a:prstGeom>
        <a:solidFill>
          <a:schemeClr val="accent1">
            <a:shade val="80000"/>
            <a:hueOff val="12921"/>
            <a:satOff val="23877"/>
            <a:lumOff val="734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500" kern="1200" dirty="0"/>
        </a:p>
      </dsp:txBody>
      <dsp:txXfrm>
        <a:off x="2496629" y="2689478"/>
        <a:ext cx="1075791" cy="413765"/>
      </dsp:txXfrm>
    </dsp:sp>
    <dsp:sp modelId="{3853C169-9BD2-4AFC-9DAE-9D619AC5BC2F}">
      <dsp:nvSpPr>
        <dsp:cNvPr id="0" name=""/>
        <dsp:cNvSpPr/>
      </dsp:nvSpPr>
      <dsp:spPr>
        <a:xfrm>
          <a:off x="2517317" y="3104382"/>
          <a:ext cx="1034414" cy="1032139"/>
        </a:xfrm>
        <a:prstGeom prst="ellipse">
          <a:avLst/>
        </a:prstGeom>
        <a:solidFill>
          <a:schemeClr val="accent1">
            <a:shade val="80000"/>
            <a:hueOff val="16151"/>
            <a:satOff val="29846"/>
            <a:lumOff val="917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64008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900" kern="1200" dirty="0"/>
        </a:p>
      </dsp:txBody>
      <dsp:txXfrm>
        <a:off x="2682823" y="3258686"/>
        <a:ext cx="703402" cy="248745"/>
      </dsp:txXfrm>
    </dsp:sp>
    <dsp:sp modelId="{99E8C778-0EF3-44F8-8B84-51BCE6BE600F}">
      <dsp:nvSpPr>
        <dsp:cNvPr id="0" name=""/>
        <dsp:cNvSpPr/>
      </dsp:nvSpPr>
      <dsp:spPr>
        <a:xfrm>
          <a:off x="2724200" y="3517010"/>
          <a:ext cx="620648" cy="620648"/>
        </a:xfrm>
        <a:prstGeom prst="ellipse">
          <a:avLst/>
        </a:prstGeom>
        <a:solidFill>
          <a:schemeClr val="accent1">
            <a:shade val="80000"/>
            <a:hueOff val="19381"/>
            <a:satOff val="35815"/>
            <a:lumOff val="1101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100" kern="1200" dirty="0"/>
        </a:p>
      </dsp:txBody>
      <dsp:txXfrm>
        <a:off x="2815092" y="3672172"/>
        <a:ext cx="438865" cy="31032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41BDC1-F172-42F4-A2F3-4749A49D3863}">
      <dsp:nvSpPr>
        <dsp:cNvPr id="0" name=""/>
        <dsp:cNvSpPr/>
      </dsp:nvSpPr>
      <dsp:spPr>
        <a:xfrm>
          <a:off x="1870150" y="571198"/>
          <a:ext cx="3904825" cy="3904825"/>
        </a:xfrm>
        <a:prstGeom prst="blockArc">
          <a:avLst>
            <a:gd name="adj1" fmla="val 11853973"/>
            <a:gd name="adj2" fmla="val 16613177"/>
            <a:gd name="adj3" fmla="val 4635"/>
          </a:avLst>
        </a:prstGeom>
        <a:solidFill>
          <a:schemeClr val="accent1">
            <a:shade val="90000"/>
            <a:hueOff val="19127"/>
            <a:satOff val="23921"/>
            <a:lumOff val="650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90A7F13-9293-41F3-8A01-55B242FA631D}">
      <dsp:nvSpPr>
        <dsp:cNvPr id="0" name=""/>
        <dsp:cNvSpPr/>
      </dsp:nvSpPr>
      <dsp:spPr>
        <a:xfrm>
          <a:off x="1883098" y="528571"/>
          <a:ext cx="3904825" cy="3904825"/>
        </a:xfrm>
        <a:prstGeom prst="blockArc">
          <a:avLst>
            <a:gd name="adj1" fmla="val 7660133"/>
            <a:gd name="adj2" fmla="val 11773667"/>
            <a:gd name="adj3" fmla="val 4635"/>
          </a:avLst>
        </a:prstGeom>
        <a:solidFill>
          <a:schemeClr val="accent1">
            <a:shade val="90000"/>
            <a:hueOff val="14345"/>
            <a:satOff val="17941"/>
            <a:lumOff val="488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DA90231-8371-4B03-BB1D-0A0B9848F154}">
      <dsp:nvSpPr>
        <dsp:cNvPr id="0" name=""/>
        <dsp:cNvSpPr/>
      </dsp:nvSpPr>
      <dsp:spPr>
        <a:xfrm>
          <a:off x="2185543" y="820609"/>
          <a:ext cx="3904825" cy="3904825"/>
        </a:xfrm>
        <a:prstGeom prst="blockArc">
          <a:avLst>
            <a:gd name="adj1" fmla="val 2338895"/>
            <a:gd name="adj2" fmla="val 8419516"/>
            <a:gd name="adj3" fmla="val 4635"/>
          </a:avLst>
        </a:prstGeom>
        <a:solidFill>
          <a:schemeClr val="accent1">
            <a:shade val="90000"/>
            <a:hueOff val="9564"/>
            <a:satOff val="11961"/>
            <a:lumOff val="325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0E0CC2-E850-4446-B3B9-321E887B0367}">
      <dsp:nvSpPr>
        <dsp:cNvPr id="0" name=""/>
        <dsp:cNvSpPr/>
      </dsp:nvSpPr>
      <dsp:spPr>
        <a:xfrm>
          <a:off x="2535701" y="485747"/>
          <a:ext cx="3904825" cy="3904825"/>
        </a:xfrm>
        <a:prstGeom prst="blockArc">
          <a:avLst>
            <a:gd name="adj1" fmla="val 20706467"/>
            <a:gd name="adj2" fmla="val 3214598"/>
            <a:gd name="adj3" fmla="val 4635"/>
          </a:avLst>
        </a:prstGeom>
        <a:solidFill>
          <a:schemeClr val="accent1">
            <a:shade val="90000"/>
            <a:hueOff val="4782"/>
            <a:satOff val="5980"/>
            <a:lumOff val="162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5ED23BA-663B-4C25-BDE4-D08BE2D30319}">
      <dsp:nvSpPr>
        <dsp:cNvPr id="0" name=""/>
        <dsp:cNvSpPr/>
      </dsp:nvSpPr>
      <dsp:spPr>
        <a:xfrm>
          <a:off x="2548395" y="531209"/>
          <a:ext cx="3904825" cy="3904825"/>
        </a:xfrm>
        <a:prstGeom prst="blockArc">
          <a:avLst>
            <a:gd name="adj1" fmla="val 15381915"/>
            <a:gd name="adj2" fmla="val 20621383"/>
            <a:gd name="adj3" fmla="val 4635"/>
          </a:avLst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FF2EC1-2B32-47F2-84DA-03E34A2E6FC0}">
      <dsp:nvSpPr>
        <dsp:cNvPr id="0" name=""/>
        <dsp:cNvSpPr/>
      </dsp:nvSpPr>
      <dsp:spPr>
        <a:xfrm>
          <a:off x="3229763" y="1716246"/>
          <a:ext cx="1795658" cy="1795658"/>
        </a:xfrm>
        <a:prstGeom prst="ellipse">
          <a:avLst/>
        </a:prstGeom>
        <a:gradFill flip="none" rotWithShape="0">
          <a:gsLst>
            <a:gs pos="0">
              <a:schemeClr val="accent1">
                <a:shade val="80000"/>
                <a:hueOff val="0"/>
                <a:satOff val="0"/>
                <a:lumOff val="0"/>
                <a:shade val="30000"/>
                <a:satMod val="115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shade val="67500"/>
                <a:satMod val="115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shade val="100000"/>
                <a:satMod val="115000"/>
              </a:schemeClr>
            </a:gs>
          </a:gsLst>
          <a:lin ang="54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Modello 231</a:t>
          </a:r>
          <a:endParaRPr lang="it-IT" sz="1400" b="1" kern="1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3492731" y="1979214"/>
        <a:ext cx="1269722" cy="1269722"/>
      </dsp:txXfrm>
    </dsp:sp>
    <dsp:sp modelId="{BFF65A9C-EFD5-435E-993B-1726015B3F1A}">
      <dsp:nvSpPr>
        <dsp:cNvPr id="0" name=""/>
        <dsp:cNvSpPr/>
      </dsp:nvSpPr>
      <dsp:spPr>
        <a:xfrm>
          <a:off x="2739597" y="1726"/>
          <a:ext cx="2623265" cy="1256961"/>
        </a:xfrm>
        <a:prstGeom prst="ellipse">
          <a:avLst/>
        </a:prstGeom>
        <a:solidFill>
          <a:srgbClr val="A7C4E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Individuare le attività a rischio reato</a:t>
          </a:r>
          <a:endParaRPr lang="it-IT" sz="1100" b="1" kern="1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3123765" y="185804"/>
        <a:ext cx="1854929" cy="888805"/>
      </dsp:txXfrm>
    </dsp:sp>
    <dsp:sp modelId="{9832CFB0-C8D5-4B7C-9152-367ACCAFCA06}">
      <dsp:nvSpPr>
        <dsp:cNvPr id="0" name=""/>
        <dsp:cNvSpPr/>
      </dsp:nvSpPr>
      <dsp:spPr>
        <a:xfrm>
          <a:off x="5148887" y="1319536"/>
          <a:ext cx="2364657" cy="1256961"/>
        </a:xfrm>
        <a:prstGeom prst="ellipse">
          <a:avLst/>
        </a:prstGeom>
        <a:solidFill>
          <a:srgbClr val="A7C4E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Prevedere regole di comportamento e specifici protocolli</a:t>
          </a:r>
          <a:endParaRPr lang="it-IT" sz="1100" b="1" kern="1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495183" y="1503614"/>
        <a:ext cx="1672065" cy="888805"/>
      </dsp:txXfrm>
    </dsp:sp>
    <dsp:sp modelId="{F429A8DC-9300-41D6-8F7F-D0F23ABCEF10}">
      <dsp:nvSpPr>
        <dsp:cNvPr id="0" name=""/>
        <dsp:cNvSpPr/>
      </dsp:nvSpPr>
      <dsp:spPr>
        <a:xfrm>
          <a:off x="4308853" y="3344281"/>
          <a:ext cx="2623265" cy="1256961"/>
        </a:xfrm>
        <a:prstGeom prst="ellipse">
          <a:avLst/>
        </a:prstGeom>
        <a:solidFill>
          <a:srgbClr val="95B8E7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Individuare modalità di gestione delle risorse finanziarie</a:t>
          </a:r>
          <a:endParaRPr lang="it-IT" sz="1100" b="1" kern="1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4693021" y="3528359"/>
        <a:ext cx="1854929" cy="888805"/>
      </dsp:txXfrm>
    </dsp:sp>
    <dsp:sp modelId="{7F8F438D-0000-4449-A7F2-08E017005362}">
      <dsp:nvSpPr>
        <dsp:cNvPr id="0" name=""/>
        <dsp:cNvSpPr/>
      </dsp:nvSpPr>
      <dsp:spPr>
        <a:xfrm>
          <a:off x="1365324" y="3362128"/>
          <a:ext cx="2609451" cy="1256961"/>
        </a:xfrm>
        <a:prstGeom prst="ellipse">
          <a:avLst/>
        </a:prstGeom>
        <a:solidFill>
          <a:srgbClr val="A7C4E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Prevedere obblighi di informazione all’Organismo di Garanzia</a:t>
          </a:r>
          <a:endParaRPr lang="it-IT" sz="1100" b="1" kern="1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1747469" y="3546206"/>
        <a:ext cx="1845161" cy="888805"/>
      </dsp:txXfrm>
    </dsp:sp>
    <dsp:sp modelId="{78137AE8-0F41-4E40-BC5C-7DB3EAA027CC}">
      <dsp:nvSpPr>
        <dsp:cNvPr id="0" name=""/>
        <dsp:cNvSpPr/>
      </dsp:nvSpPr>
      <dsp:spPr>
        <a:xfrm>
          <a:off x="801981" y="1159649"/>
          <a:ext cx="2404704" cy="1576731"/>
        </a:xfrm>
        <a:prstGeom prst="ellipse">
          <a:avLst/>
        </a:prstGeom>
        <a:solidFill>
          <a:srgbClr val="95B8E7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Introdurre un sistema disciplinare idoneo a sanzionare il mancato rispetto del Modello</a:t>
          </a:r>
          <a:endParaRPr lang="it-IT" sz="1100" b="1" kern="1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1154142" y="1390556"/>
        <a:ext cx="1700382" cy="11149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466242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4850" y="582613"/>
            <a:ext cx="5454650" cy="409098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5356" y="4995326"/>
            <a:ext cx="5844153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120217" y="8928488"/>
            <a:ext cx="54405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fld id="{A6B565E1-6667-4149-91A2-234E9DF9C927}" type="slidenum">
              <a:rPr lang="en-US"/>
              <a:pPr/>
              <a:t>‹N›</a:t>
            </a:fld>
            <a:endParaRPr lang="en-US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4"/>
          </p:nvPr>
        </p:nvSpPr>
        <p:spPr>
          <a:xfrm>
            <a:off x="0" y="8830091"/>
            <a:ext cx="2972123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it-IT" dirty="0" smtClean="0"/>
              <a:t>In forza al 1 ottobre 2010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9567183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B565E1-6667-4149-91A2-234E9DF9C927}" type="slidenum">
              <a:rPr lang="en-US" smtClean="0"/>
              <a:pPr/>
              <a:t>0</a:t>
            </a:fld>
            <a:endParaRPr lang="en-US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mtClean="0"/>
              <a:t>In forza al 1 ottobre 2010</a:t>
            </a:r>
            <a:endParaRPr lang="it-IT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B565E1-6667-4149-91A2-234E9DF9C927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mtClean="0"/>
              <a:t>In forza al 1 ottobre 2010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238992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22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74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oc id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de-DE" sz="800"/>
          </a:p>
        </p:txBody>
      </p:sp>
      <p:sp>
        <p:nvSpPr>
          <p:cNvPr id="7" name="McK Document typ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98663" y="4933950"/>
            <a:ext cx="4935537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>
              <a:defRPr/>
            </a:pPr>
            <a:r>
              <a:rPr lang="en-US" sz="1400"/>
              <a:t>Document type</a:t>
            </a:r>
          </a:p>
        </p:txBody>
      </p:sp>
      <p:sp>
        <p:nvSpPr>
          <p:cNvPr id="8" name="McK Dat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998663" y="5260975"/>
            <a:ext cx="4935537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l">
              <a:defRPr/>
            </a:pPr>
            <a:r>
              <a:rPr lang="en-US" sz="1400"/>
              <a:t>Date</a:t>
            </a:r>
          </a:p>
        </p:txBody>
      </p:sp>
      <p:sp>
        <p:nvSpPr>
          <p:cNvPr id="9" name="McK Disclaim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998663" y="6080125"/>
            <a:ext cx="4408487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 defTabSz="804863" eaLnBrk="0" hangingPunct="0">
              <a:defRPr/>
            </a:pPr>
            <a:r>
              <a:rPr lang="en-US" sz="800"/>
              <a:t>CONFIDENTIAL AND PROPRIETARY</a:t>
            </a:r>
          </a:p>
        </p:txBody>
      </p:sp>
      <p:sp>
        <p:nvSpPr>
          <p:cNvPr id="13521" name="Rectangle 1233"/>
          <p:cNvSpPr>
            <a:spLocks noGrp="1" noChangeArrowheads="1"/>
          </p:cNvSpPr>
          <p:nvPr>
            <p:ph type="ctrTitle"/>
          </p:nvPr>
        </p:nvSpPr>
        <p:spPr>
          <a:xfrm>
            <a:off x="1998663" y="1422400"/>
            <a:ext cx="4935537" cy="411163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FD8E84-CFDE-41D6-9E71-F68553C9E940}" type="slidenum">
              <a:rPr lang="en-US" smtClean="0"/>
              <a:pPr/>
              <a:t>‹N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1" name="Picture 13" descr="template_bar.png"/>
          <p:cNvPicPr>
            <a:picLocks noChangeAspect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8961967" cy="672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F43D2F0-6DC3-497F-82C3-5DA5F0FE4DDD}" type="slidenum">
              <a:rPr lang="en-US"/>
              <a:pPr/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286EDC3-1D65-481B-A95E-86DCF67C207E}" type="slidenum">
              <a:rPr lang="en-US"/>
              <a:pPr/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5DE8811-E1C0-4D7D-90CF-D19DA8C19DC6}" type="slidenum">
              <a:rPr lang="en-US"/>
              <a:pPr/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67488" y="225425"/>
            <a:ext cx="2154237" cy="29479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3188" y="225425"/>
            <a:ext cx="6311900" cy="29479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5BBCB73-D49C-4D7B-B068-4C442717648A}" type="slidenum">
              <a:rPr lang="en-US"/>
              <a:pPr/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Mesa 4:3  Title">
    <p:bg>
      <p:bgPr>
        <a:blipFill dpi="0" rotWithShape="0">
          <a:blip r:embed="rId2" cstate="print">
            <a:alphaModFix amt="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/>
          <p:nvPr userDrawn="1"/>
        </p:nvSpPr>
        <p:spPr bwMode="auto">
          <a:xfrm>
            <a:off x="0" y="4771937"/>
            <a:ext cx="8961438" cy="194953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89611" tIns="44806" rIns="89611" bIns="44806"/>
          <a:lstStyle/>
          <a:p>
            <a:pPr eaLnBrk="0" hangingPunct="0">
              <a:defRPr/>
            </a:pPr>
            <a:endParaRPr lang="en-US">
              <a:latin typeface="Verdana" charset="0"/>
              <a:ea typeface="+mn-ea"/>
            </a:endParaRPr>
          </a:p>
        </p:txBody>
      </p:sp>
      <p:pic>
        <p:nvPicPr>
          <p:cNvPr id="6" name="Picture 7" descr="Janssen_Pref_RGB.png"/>
          <p:cNvPicPr>
            <a:picLocks noChangeAspect="1"/>
          </p:cNvPicPr>
          <p:nvPr userDrawn="1"/>
        </p:nvPicPr>
        <p:blipFill>
          <a:blip r:embed="rId3" cstate="print"/>
          <a:srcRect t="18079" b="23985"/>
          <a:stretch>
            <a:fillRect/>
          </a:stretch>
        </p:blipFill>
        <p:spPr bwMode="auto">
          <a:xfrm>
            <a:off x="174250" y="4617902"/>
            <a:ext cx="3372986" cy="19542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402954" y="1351763"/>
            <a:ext cx="7169150" cy="401648"/>
          </a:xfrm>
        </p:spPr>
        <p:txBody>
          <a:bodyPr/>
          <a:lstStyle>
            <a:lvl1pPr>
              <a:defRPr sz="2900">
                <a:solidFill>
                  <a:srgbClr val="09357A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02954" y="3534998"/>
            <a:ext cx="7169150" cy="362524"/>
          </a:xfrm>
        </p:spPr>
        <p:txBody>
          <a:bodyPr/>
          <a:lstStyle>
            <a:lvl1pPr marL="0" indent="0">
              <a:buFontTx/>
              <a:buNone/>
              <a:defRPr sz="1800" b="1"/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03265" y="3848667"/>
            <a:ext cx="7169150" cy="348521"/>
          </a:xfrm>
        </p:spPr>
        <p:txBody>
          <a:bodyPr/>
          <a:lstStyle>
            <a:lvl1pPr marL="0" indent="0">
              <a:buNone/>
              <a:defRPr sz="1500" i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1"/>
          </p:nvPr>
        </p:nvSpPr>
        <p:spPr>
          <a:xfrm>
            <a:off x="402954" y="1932424"/>
            <a:ext cx="3061825" cy="452767"/>
          </a:xfrm>
          <a:prstGeom prst="rect">
            <a:avLst/>
          </a:prstGeom>
        </p:spPr>
        <p:txBody>
          <a:bodyPr lIns="89611" tIns="44806" rIns="89611" bIns="44806"/>
          <a:lstStyle>
            <a:lvl1pPr algn="l" eaLnBrk="0" hangingPunct="0">
              <a:defRPr sz="2400">
                <a:solidFill>
                  <a:srgbClr val="09357A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egnaposto numero diapositiva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D8E84-CFDE-41D6-9E71-F68553C9E940}" type="slidenum">
              <a:rPr lang="en-US" smtClean="0"/>
              <a:pPr/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90000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47074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FD8E84-CFDE-41D6-9E71-F68553C9E940}" type="slidenum">
              <a:rPr lang="en-US" smtClean="0"/>
              <a:pPr/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9848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CAB8D-5DB2-4DE8-B762-0703AFCDFD0D}" type="datetimeFigureOut">
              <a:rPr lang="it-IT" smtClean="0"/>
              <a:t>26/10/2015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2C7-EEB3-4461-85D2-513AD554CD6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77376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CAB8D-5DB2-4DE8-B762-0703AFCDFD0D}" type="datetimeFigureOut">
              <a:rPr lang="it-IT" smtClean="0"/>
              <a:t>26/10/2015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2C7-EEB3-4461-85D2-513AD554CD6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71038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3EC8FFF-110E-4212-9266-74CB78D60D91}" type="slidenum">
              <a:rPr lang="en-US"/>
              <a:pPr/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CAB8D-5DB2-4DE8-B762-0703AFCDFD0D}" type="datetimeFigureOut">
              <a:rPr lang="it-IT" smtClean="0"/>
              <a:t>26/10/2015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2C7-EEB3-4461-85D2-513AD554CD6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07615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47675" y="1568450"/>
            <a:ext cx="3956050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56125" y="1568450"/>
            <a:ext cx="3957638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CAB8D-5DB2-4DE8-B762-0703AFCDFD0D}" type="datetimeFigureOut">
              <a:rPr lang="it-IT" smtClean="0"/>
              <a:t>26/10/2015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2C7-EEB3-4461-85D2-513AD554CD6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943835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CAB8D-5DB2-4DE8-B762-0703AFCDFD0D}" type="datetimeFigureOut">
              <a:rPr lang="it-IT" smtClean="0"/>
              <a:t>26/10/2015</a:t>
            </a:fld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2C7-EEB3-4461-85D2-513AD554CD6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635848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CAB8D-5DB2-4DE8-B762-0703AFCDFD0D}" type="datetimeFigureOut">
              <a:rPr lang="it-IT" smtClean="0"/>
              <a:t>26/10/2015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2C7-EEB3-4461-85D2-513AD554CD6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384637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CAB8D-5DB2-4DE8-B762-0703AFCDFD0D}" type="datetimeFigureOut">
              <a:rPr lang="it-IT" smtClean="0"/>
              <a:t>26/10/2015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2C7-EEB3-4461-85D2-513AD554CD6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5731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CAB8D-5DB2-4DE8-B762-0703AFCDFD0D}" type="datetimeFigureOut">
              <a:rPr lang="it-IT" smtClean="0"/>
              <a:t>26/10/2015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2C7-EEB3-4461-85D2-513AD554CD6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088971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CAB8D-5DB2-4DE8-B762-0703AFCDFD0D}" type="datetimeFigureOut">
              <a:rPr lang="it-IT" smtClean="0"/>
              <a:t>26/10/2015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2C7-EEB3-4461-85D2-513AD554CD6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430746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CAB8D-5DB2-4DE8-B762-0703AFCDFD0D}" type="datetimeFigureOut">
              <a:rPr lang="it-IT" smtClean="0"/>
              <a:t>26/10/2015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2C7-EEB3-4461-85D2-513AD554CD6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267183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497638" y="269875"/>
            <a:ext cx="2016125" cy="5734050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47675" y="269875"/>
            <a:ext cx="5897563" cy="5734050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CAB8D-5DB2-4DE8-B762-0703AFCDFD0D}" type="datetimeFigureOut">
              <a:rPr lang="it-IT" smtClean="0"/>
              <a:t>26/10/2015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2C7-EEB3-4461-85D2-513AD554CD6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255516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B9B67-4FD4-4916-92D9-362712787BF4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FD8E84-CFDE-41D6-9E71-F68553C9E940}" type="slidenum">
              <a:rPr lang="en-US" smtClean="0"/>
              <a:pPr/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B9B67-4FD4-4916-92D9-362712787BF4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B9B67-4FD4-4916-92D9-362712787BF4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47675" y="1568450"/>
            <a:ext cx="3956050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56125" y="1568450"/>
            <a:ext cx="3957638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B9B67-4FD4-4916-92D9-362712787BF4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B9B67-4FD4-4916-92D9-362712787BF4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B9B67-4FD4-4916-92D9-362712787BF4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B9B67-4FD4-4916-92D9-362712787BF4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B9B67-4FD4-4916-92D9-362712787BF4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B9B67-4FD4-4916-92D9-362712787BF4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B9B67-4FD4-4916-92D9-362712787BF4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497638" y="269875"/>
            <a:ext cx="2016125" cy="573405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47675" y="269875"/>
            <a:ext cx="5897563" cy="5734050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B9B67-4FD4-4916-92D9-362712787BF4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FD8E84-CFDE-41D6-9E71-F68553C9E940}" type="slidenum">
              <a:rPr lang="en-US" smtClean="0"/>
              <a:pPr/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F1E71-D21A-43D8-B3F2-F41C6E4BBD27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F1E71-D21A-43D8-B3F2-F41C6E4BBD27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F1E71-D21A-43D8-B3F2-F41C6E4BBD27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47675" y="1568450"/>
            <a:ext cx="3956050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56125" y="1568450"/>
            <a:ext cx="3957638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F1E71-D21A-43D8-B3F2-F41C6E4BBD27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F1E71-D21A-43D8-B3F2-F41C6E4BBD27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F1E71-D21A-43D8-B3F2-F41C6E4BBD27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F1E71-D21A-43D8-B3F2-F41C6E4BBD27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F1E71-D21A-43D8-B3F2-F41C6E4BBD27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F1E71-D21A-43D8-B3F2-F41C6E4BBD27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F1E71-D21A-43D8-B3F2-F41C6E4BBD27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BDEAD31-88EC-46FB-A235-852D7C71F395}" type="slidenum">
              <a:rPr lang="en-US"/>
              <a:pPr/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497638" y="269875"/>
            <a:ext cx="2016125" cy="573405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47675" y="269875"/>
            <a:ext cx="5897563" cy="5734050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F1E71-D21A-43D8-B3F2-F41C6E4BBD27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F1E71-D21A-43D8-B3F2-F41C6E4BBD27}" type="slidenum">
              <a:rPr lang="de-DE" smtClean="0"/>
              <a:pPr/>
              <a:t>‹N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A572F42-2C78-4B77-9404-71FABF72966A}" type="slidenum">
              <a:rPr lang="en-US"/>
              <a:pPr/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E9A9E39-BF93-4456-ACB9-887997867CA3}" type="slidenum">
              <a:rPr lang="en-US"/>
              <a:pPr/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AC17802-AFCE-41F7-AC27-3B4F08285898}" type="slidenum">
              <a:rPr lang="en-US"/>
              <a:pPr/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E1414BB-A9A9-4A91-AB79-EF44C71CFBEB}" type="slidenum">
              <a:rPr lang="en-US"/>
              <a:pPr/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8.xml"/><Relationship Id="rId39" Type="http://schemas.openxmlformats.org/officeDocument/2006/relationships/tags" Target="../tags/tag21.xml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42" Type="http://schemas.openxmlformats.org/officeDocument/2006/relationships/tags" Target="../tags/tag24.xml"/><Relationship Id="rId47" Type="http://schemas.openxmlformats.org/officeDocument/2006/relationships/tags" Target="../tags/tag29.xml"/><Relationship Id="rId50" Type="http://schemas.openxmlformats.org/officeDocument/2006/relationships/tags" Target="../tags/tag32.xml"/><Relationship Id="rId55" Type="http://schemas.openxmlformats.org/officeDocument/2006/relationships/tags" Target="../tags/tag37.xml"/><Relationship Id="rId63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29" Type="http://schemas.openxmlformats.org/officeDocument/2006/relationships/tags" Target="../tags/tag11.xml"/><Relationship Id="rId41" Type="http://schemas.openxmlformats.org/officeDocument/2006/relationships/tags" Target="../tags/tag23.xml"/><Relationship Id="rId54" Type="http://schemas.openxmlformats.org/officeDocument/2006/relationships/tags" Target="../tags/tag36.xml"/><Relationship Id="rId62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tags" Target="../tags/tag22.xml"/><Relationship Id="rId45" Type="http://schemas.openxmlformats.org/officeDocument/2006/relationships/tags" Target="../tags/tag27.xml"/><Relationship Id="rId53" Type="http://schemas.openxmlformats.org/officeDocument/2006/relationships/tags" Target="../tags/tag35.xml"/><Relationship Id="rId58" Type="http://schemas.openxmlformats.org/officeDocument/2006/relationships/tags" Target="../tags/tag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49" Type="http://schemas.openxmlformats.org/officeDocument/2006/relationships/tags" Target="../tags/tag31.xml"/><Relationship Id="rId57" Type="http://schemas.openxmlformats.org/officeDocument/2006/relationships/tags" Target="../tags/tag39.xml"/><Relationship Id="rId61" Type="http://schemas.openxmlformats.org/officeDocument/2006/relationships/tags" Target="../tags/tag43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31" Type="http://schemas.openxmlformats.org/officeDocument/2006/relationships/tags" Target="../tags/tag13.xml"/><Relationship Id="rId44" Type="http://schemas.openxmlformats.org/officeDocument/2006/relationships/tags" Target="../tags/tag26.xml"/><Relationship Id="rId52" Type="http://schemas.openxmlformats.org/officeDocument/2006/relationships/tags" Target="../tags/tag34.xml"/><Relationship Id="rId60" Type="http://schemas.openxmlformats.org/officeDocument/2006/relationships/tags" Target="../tags/tag4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43" Type="http://schemas.openxmlformats.org/officeDocument/2006/relationships/tags" Target="../tags/tag25.xml"/><Relationship Id="rId48" Type="http://schemas.openxmlformats.org/officeDocument/2006/relationships/tags" Target="../tags/tag30.xml"/><Relationship Id="rId56" Type="http://schemas.openxmlformats.org/officeDocument/2006/relationships/tags" Target="../tags/tag3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Relationship Id="rId46" Type="http://schemas.openxmlformats.org/officeDocument/2006/relationships/tags" Target="../tags/tag28.xml"/><Relationship Id="rId59" Type="http://schemas.openxmlformats.org/officeDocument/2006/relationships/tags" Target="../tags/tag4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359" hidden="1"/>
          <p:cNvGraphicFramePr>
            <a:graphicFrameLocks/>
          </p:cNvGraphicFramePr>
          <p:nvPr>
            <p:custDataLst>
              <p:tags r:id="rId20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" name="think-cell Slide" r:id="rId62" imgW="0" imgH="0" progId="">
                  <p:embed/>
                </p:oleObj>
              </mc:Choice>
              <mc:Fallback>
                <p:oleObj name="think-cell Slide" r:id="rId62" imgW="0" imgH="0" progId="">
                  <p:embed/>
                  <p:pic>
                    <p:nvPicPr>
                      <p:cNvPr id="0" name="AutoShape 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McK 2. Slide Title"/>
          <p:cNvSpPr>
            <a:spLocks noGrp="1" noChangeArrowheads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103188" y="225425"/>
            <a:ext cx="8618537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>
              <a:defRPr/>
            </a:pPr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03188" y="609600"/>
            <a:ext cx="862171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l" defTabSz="895350">
              <a:defRPr/>
            </a:pPr>
            <a:r>
              <a:rPr lang="en-US" sz="180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151" name="McK 4. Footnote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19063" y="6081713"/>
            <a:ext cx="854868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104775" indent="-104775" algn="l" defTabSz="895350">
              <a:defRPr/>
            </a:pPr>
            <a:r>
              <a:rPr lang="en-US" sz="1000"/>
              <a:t>1 Footnote</a:t>
            </a:r>
          </a:p>
        </p:txBody>
      </p:sp>
      <p:sp>
        <p:nvSpPr>
          <p:cNvPr id="1154" name="McK 5. Source" hidden="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1058863" y="6438900"/>
            <a:ext cx="7381875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642938" indent="-642938" algn="l" defTabSz="895350">
              <a:tabLst>
                <a:tab pos="581025" algn="r"/>
                <a:tab pos="641350" algn="l"/>
              </a:tabLst>
              <a:defRPr/>
            </a:pPr>
            <a:r>
              <a:rPr lang="en-US" sz="1000">
                <a:solidFill>
                  <a:srgbClr val="000000"/>
                </a:solidFill>
              </a:rPr>
              <a:t>	1	Footnote</a:t>
            </a:r>
          </a:p>
          <a:p>
            <a:pPr marL="642938" indent="-642938" algn="l" defTabSz="895350">
              <a:tabLst>
                <a:tab pos="581025" algn="r"/>
                <a:tab pos="641350" algn="l"/>
              </a:tabLst>
              <a:defRPr/>
            </a:pPr>
            <a:r>
              <a:rPr lang="en-US" sz="1000">
                <a:solidFill>
                  <a:srgbClr val="000000"/>
                </a:solidFill>
              </a:rPr>
              <a:t>SOURCE:		Source</a:t>
            </a:r>
          </a:p>
        </p:txBody>
      </p:sp>
      <p:grpSp>
        <p:nvGrpSpPr>
          <p:cNvPr id="1034" name="ACET" hidden="1"/>
          <p:cNvGrpSpPr>
            <a:grpSpLocks/>
          </p:cNvGrpSpPr>
          <p:nvPr>
            <p:custDataLst>
              <p:tags r:id="rId26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085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algn="l">
                <a:defRPr/>
              </a:pPr>
              <a:r>
                <a:rPr lang="en-US" b="1"/>
                <a:t>Title</a:t>
              </a:r>
            </a:p>
            <a:p>
              <a:pPr algn="l">
                <a:defRPr/>
              </a:pPr>
              <a:r>
                <a:rPr lang="en-US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  <p:custDataLst>
              <p:tags r:id="rId27"/>
            </p:custDataLst>
          </p:nvPr>
        </p:nvSpPr>
        <p:spPr bwMode="gray">
          <a:xfrm>
            <a:off x="8545513" y="6443663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2"/>
                </a:solidFill>
              </a:defRPr>
            </a:lvl1pPr>
          </a:lstStyle>
          <a:p>
            <a:fld id="{A5FD8E84-CFDE-41D6-9E71-F68553C9E940}" type="slidenum">
              <a:rPr lang="en-US"/>
              <a:pPr/>
              <a:t>‹N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306" name="doc id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/>
            <a:endParaRPr lang="cs-CZ" sz="800">
              <a:solidFill>
                <a:srgbClr val="000000"/>
              </a:solidFill>
            </a:endParaRPr>
          </a:p>
        </p:txBody>
      </p:sp>
      <p:sp>
        <p:nvSpPr>
          <p:cNvPr id="1039" name="Rectangle 286"/>
          <p:cNvSpPr>
            <a:spLocks noGrp="1" noChangeArrowheads="1"/>
          </p:cNvSpPr>
          <p:nvPr>
            <p:ph type="body" idx="1"/>
            <p:custDataLst>
              <p:tags r:id="rId29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316" name="McK 6. Title circle" hidden="1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119063" y="241300"/>
            <a:ext cx="381000" cy="381000"/>
          </a:xfrm>
          <a:prstGeom prst="ellipse">
            <a:avLst/>
          </a:prstGeom>
          <a:solidFill>
            <a:schemeClr val="folHlink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r>
              <a:rPr lang="en-US" sz="2400" b="1">
                <a:solidFill>
                  <a:schemeClr val="bg1"/>
                </a:solidFill>
              </a:rPr>
              <a:t>1</a:t>
            </a:r>
          </a:p>
        </p:txBody>
      </p:sp>
      <p:grpSp>
        <p:nvGrpSpPr>
          <p:cNvPr id="1041" name="McK 7a. Square legend" hidden="1"/>
          <p:cNvGrpSpPr>
            <a:grpSpLocks/>
          </p:cNvGrpSpPr>
          <p:nvPr>
            <p:custDataLst>
              <p:tags r:id="rId31"/>
            </p:custDataLst>
          </p:nvPr>
        </p:nvGrpSpPr>
        <p:grpSpPr bwMode="auto">
          <a:xfrm>
            <a:off x="7991475" y="285750"/>
            <a:ext cx="765175" cy="1103313"/>
            <a:chOff x="2126" y="166"/>
            <a:chExt cx="482" cy="695"/>
          </a:xfrm>
        </p:grpSpPr>
        <p:sp>
          <p:nvSpPr>
            <p:cNvPr id="1318" name="Text Box 294" hidden="1"/>
            <p:cNvSpPr txBox="1">
              <a:spLocks noChangeArrowheads="1"/>
            </p:cNvSpPr>
            <p:nvPr userDrawn="1">
              <p:custDataLst>
                <p:tags r:id="rId56"/>
              </p:custDataLst>
            </p:nvPr>
          </p:nvSpPr>
          <p:spPr bwMode="auto">
            <a:xfrm>
              <a:off x="2287" y="166"/>
              <a:ext cx="321" cy="6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l">
                <a:lnSpc>
                  <a:spcPts val="1400"/>
                </a:lnSpc>
                <a:spcAft>
                  <a:spcPts val="400"/>
                </a:spcAft>
                <a:defRPr/>
              </a:pPr>
              <a:r>
                <a:rPr lang="en-US" sz="1200"/>
                <a:t>Legend</a:t>
              </a:r>
            </a:p>
            <a:p>
              <a:pPr algn="l">
                <a:lnSpc>
                  <a:spcPts val="1400"/>
                </a:lnSpc>
                <a:spcAft>
                  <a:spcPts val="400"/>
                </a:spcAft>
                <a:defRPr/>
              </a:pPr>
              <a:r>
                <a:rPr lang="en-US" sz="1200"/>
                <a:t>Legend</a:t>
              </a:r>
            </a:p>
            <a:p>
              <a:pPr algn="l">
                <a:lnSpc>
                  <a:spcPts val="1400"/>
                </a:lnSpc>
                <a:spcAft>
                  <a:spcPts val="400"/>
                </a:spcAft>
                <a:defRPr/>
              </a:pPr>
              <a:r>
                <a:rPr lang="en-US" sz="1200"/>
                <a:t>Legend</a:t>
              </a:r>
            </a:p>
            <a:p>
              <a:pPr algn="l">
                <a:lnSpc>
                  <a:spcPts val="1400"/>
                </a:lnSpc>
                <a:spcAft>
                  <a:spcPts val="400"/>
                </a:spcAft>
                <a:defRPr/>
              </a:pPr>
              <a:r>
                <a:rPr lang="en-US" sz="1200"/>
                <a:t>Legend</a:t>
              </a:r>
            </a:p>
            <a:p>
              <a:pPr algn="l">
                <a:lnSpc>
                  <a:spcPts val="1400"/>
                </a:lnSpc>
                <a:spcAft>
                  <a:spcPts val="400"/>
                </a:spcAft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1319" name="Rectangle 295" hidden="1"/>
            <p:cNvSpPr>
              <a:spLocks noChangeArrowheads="1"/>
            </p:cNvSpPr>
            <p:nvPr userDrawn="1">
              <p:custDataLst>
                <p:tags r:id="rId57"/>
              </p:custDataLst>
            </p:nvPr>
          </p:nvSpPr>
          <p:spPr bwMode="auto">
            <a:xfrm>
              <a:off x="2126" y="173"/>
              <a:ext cx="104" cy="1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320" name="Rectangle 296" hidden="1"/>
            <p:cNvSpPr>
              <a:spLocks noChangeArrowheads="1"/>
            </p:cNvSpPr>
            <p:nvPr userDrawn="1">
              <p:custDataLst>
                <p:tags r:id="rId58"/>
              </p:custDataLst>
            </p:nvPr>
          </p:nvSpPr>
          <p:spPr bwMode="auto">
            <a:xfrm>
              <a:off x="2126" y="320"/>
              <a:ext cx="104" cy="1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321" name="Rectangle 297" hidden="1"/>
            <p:cNvSpPr>
              <a:spLocks noChangeArrowheads="1"/>
            </p:cNvSpPr>
            <p:nvPr userDrawn="1">
              <p:custDataLst>
                <p:tags r:id="rId59"/>
              </p:custDataLst>
            </p:nvPr>
          </p:nvSpPr>
          <p:spPr bwMode="auto">
            <a:xfrm>
              <a:off x="2126" y="467"/>
              <a:ext cx="104" cy="104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322" name="Rectangle 298" hidden="1"/>
            <p:cNvSpPr>
              <a:spLocks noChangeArrowheads="1"/>
            </p:cNvSpPr>
            <p:nvPr userDrawn="1">
              <p:custDataLst>
                <p:tags r:id="rId60"/>
              </p:custDataLst>
            </p:nvPr>
          </p:nvSpPr>
          <p:spPr bwMode="auto">
            <a:xfrm>
              <a:off x="2126" y="614"/>
              <a:ext cx="104" cy="104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323" name="Rectangle 299" hidden="1"/>
            <p:cNvSpPr>
              <a:spLocks noChangeArrowheads="1"/>
            </p:cNvSpPr>
            <p:nvPr userDrawn="1">
              <p:custDataLst>
                <p:tags r:id="rId61"/>
              </p:custDataLst>
            </p:nvPr>
          </p:nvSpPr>
          <p:spPr bwMode="auto">
            <a:xfrm>
              <a:off x="2126" y="757"/>
              <a:ext cx="104" cy="10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</p:grpSp>
      <p:grpSp>
        <p:nvGrpSpPr>
          <p:cNvPr id="1042" name="McK 7b. Line legend" hidden="1"/>
          <p:cNvGrpSpPr>
            <a:grpSpLocks/>
          </p:cNvGrpSpPr>
          <p:nvPr>
            <p:custDataLst>
              <p:tags r:id="rId32"/>
            </p:custDataLst>
          </p:nvPr>
        </p:nvGrpSpPr>
        <p:grpSpPr bwMode="auto">
          <a:xfrm>
            <a:off x="7823200" y="285750"/>
            <a:ext cx="933450" cy="1092200"/>
            <a:chOff x="4941" y="1159"/>
            <a:chExt cx="588" cy="688"/>
          </a:xfrm>
        </p:grpSpPr>
        <p:sp>
          <p:nvSpPr>
            <p:cNvPr id="1325" name="Text Box 301" hidden="1"/>
            <p:cNvSpPr txBox="1">
              <a:spLocks noChangeArrowheads="1"/>
            </p:cNvSpPr>
            <p:nvPr userDrawn="1">
              <p:custDataLst>
                <p:tags r:id="rId55"/>
              </p:custDataLst>
            </p:nvPr>
          </p:nvSpPr>
          <p:spPr bwMode="auto">
            <a:xfrm>
              <a:off x="5208" y="1159"/>
              <a:ext cx="321" cy="6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l">
                <a:lnSpc>
                  <a:spcPts val="1400"/>
                </a:lnSpc>
                <a:spcAft>
                  <a:spcPts val="400"/>
                </a:spcAft>
                <a:defRPr/>
              </a:pPr>
              <a:r>
                <a:rPr lang="en-US" sz="1200"/>
                <a:t>Legend</a:t>
              </a:r>
            </a:p>
            <a:p>
              <a:pPr algn="l">
                <a:lnSpc>
                  <a:spcPts val="1400"/>
                </a:lnSpc>
                <a:spcAft>
                  <a:spcPts val="400"/>
                </a:spcAft>
                <a:defRPr/>
              </a:pPr>
              <a:r>
                <a:rPr lang="en-US" sz="1200"/>
                <a:t>Legend</a:t>
              </a:r>
            </a:p>
            <a:p>
              <a:pPr algn="l">
                <a:lnSpc>
                  <a:spcPts val="1400"/>
                </a:lnSpc>
                <a:spcAft>
                  <a:spcPts val="400"/>
                </a:spcAft>
                <a:defRPr/>
              </a:pPr>
              <a:r>
                <a:rPr lang="en-US" sz="1200"/>
                <a:t>Legend</a:t>
              </a:r>
            </a:p>
            <a:p>
              <a:pPr algn="l">
                <a:lnSpc>
                  <a:spcPts val="1400"/>
                </a:lnSpc>
                <a:spcAft>
                  <a:spcPts val="400"/>
                </a:spcAft>
                <a:defRPr/>
              </a:pPr>
              <a:r>
                <a:rPr lang="en-US" sz="1200"/>
                <a:t>Legend</a:t>
              </a:r>
            </a:p>
            <a:p>
              <a:pPr algn="l">
                <a:lnSpc>
                  <a:spcPts val="1400"/>
                </a:lnSpc>
                <a:spcAft>
                  <a:spcPts val="400"/>
                </a:spcAft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1326" name="LineLegend1" hidden="1"/>
            <p:cNvSpPr>
              <a:spLocks noChangeShapeType="1"/>
            </p:cNvSpPr>
            <p:nvPr userDrawn="1"/>
          </p:nvSpPr>
          <p:spPr bwMode="auto">
            <a:xfrm>
              <a:off x="4941" y="1218"/>
              <a:ext cx="21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27" name="LineLegend3" hidden="1"/>
            <p:cNvSpPr>
              <a:spLocks noChangeShapeType="1"/>
            </p:cNvSpPr>
            <p:nvPr userDrawn="1"/>
          </p:nvSpPr>
          <p:spPr bwMode="auto">
            <a:xfrm>
              <a:off x="4941" y="1365"/>
              <a:ext cx="21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28" name="LineLegend1" hidden="1"/>
            <p:cNvSpPr>
              <a:spLocks noChangeShapeType="1"/>
            </p:cNvSpPr>
            <p:nvPr userDrawn="1"/>
          </p:nvSpPr>
          <p:spPr bwMode="auto">
            <a:xfrm>
              <a:off x="4941" y="1512"/>
              <a:ext cx="21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29" name="LineLegend3" hidden="1"/>
            <p:cNvSpPr>
              <a:spLocks noChangeShapeType="1"/>
            </p:cNvSpPr>
            <p:nvPr userDrawn="1"/>
          </p:nvSpPr>
          <p:spPr bwMode="auto">
            <a:xfrm>
              <a:off x="4941" y="1659"/>
              <a:ext cx="21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30" name="LineLegend1" hidden="1"/>
            <p:cNvSpPr>
              <a:spLocks noChangeShapeType="1"/>
            </p:cNvSpPr>
            <p:nvPr userDrawn="1"/>
          </p:nvSpPr>
          <p:spPr bwMode="auto">
            <a:xfrm>
              <a:off x="4941" y="1802"/>
              <a:ext cx="21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</p:grpSp>
      <p:grpSp>
        <p:nvGrpSpPr>
          <p:cNvPr id="1043" name="McK 7d. FTE legend " hidden="1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8205788" y="285750"/>
            <a:ext cx="544512" cy="204788"/>
            <a:chOff x="5047" y="3701"/>
            <a:chExt cx="343" cy="129"/>
          </a:xfrm>
        </p:grpSpPr>
        <p:grpSp>
          <p:nvGrpSpPr>
            <p:cNvPr id="1068" name="Group 323" hidden="1"/>
            <p:cNvGrpSpPr>
              <a:grpSpLocks/>
            </p:cNvGrpSpPr>
            <p:nvPr userDrawn="1"/>
          </p:nvGrpSpPr>
          <p:grpSpPr bwMode="auto">
            <a:xfrm>
              <a:off x="5047" y="3701"/>
              <a:ext cx="133" cy="101"/>
              <a:chOff x="5047" y="3701"/>
              <a:chExt cx="133" cy="101"/>
            </a:xfrm>
          </p:grpSpPr>
          <p:sp>
            <p:nvSpPr>
              <p:cNvPr id="1348" name="LegendRectangle1" hidden="1"/>
              <p:cNvSpPr>
                <a:spLocks noChangeArrowheads="1"/>
              </p:cNvSpPr>
              <p:nvPr userDrawn="1"/>
            </p:nvSpPr>
            <p:spPr bwMode="auto">
              <a:xfrm>
                <a:off x="5047" y="3701"/>
                <a:ext cx="104" cy="101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1349" name="LegendRectangle1" hidden="1"/>
              <p:cNvSpPr>
                <a:spLocks noChangeArrowheads="1"/>
              </p:cNvSpPr>
              <p:nvPr userDrawn="1"/>
            </p:nvSpPr>
            <p:spPr bwMode="auto">
              <a:xfrm>
                <a:off x="5083" y="3751"/>
                <a:ext cx="68" cy="5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1350" name="Line 326" hidden="1"/>
              <p:cNvSpPr>
                <a:spLocks noChangeShapeType="1"/>
              </p:cNvSpPr>
              <p:nvPr userDrawn="1"/>
            </p:nvSpPr>
            <p:spPr bwMode="auto">
              <a:xfrm>
                <a:off x="5125" y="3777"/>
                <a:ext cx="5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</p:grpSp>
        <p:sp>
          <p:nvSpPr>
            <p:cNvPr id="1351" name="Text Box 327" hidden="1"/>
            <p:cNvSpPr txBox="1">
              <a:spLocks noChangeArrowheads="1"/>
            </p:cNvSpPr>
            <p:nvPr userDrawn="1"/>
          </p:nvSpPr>
          <p:spPr bwMode="auto">
            <a:xfrm>
              <a:off x="5208" y="3715"/>
              <a:ext cx="182" cy="11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l">
                <a:spcBef>
                  <a:spcPct val="50000"/>
                </a:spcBef>
                <a:defRPr/>
              </a:pPr>
              <a:r>
                <a:rPr lang="en-US" sz="1200"/>
                <a:t>FTE</a:t>
              </a:r>
            </a:p>
          </p:txBody>
        </p:sp>
      </p:grpSp>
      <p:grpSp>
        <p:nvGrpSpPr>
          <p:cNvPr id="1044" name="McK 7e. 12pt CAGR legend" hidden="1"/>
          <p:cNvGrpSpPr>
            <a:grpSpLocks/>
          </p:cNvGrpSpPr>
          <p:nvPr>
            <p:custDataLst>
              <p:tags r:id="rId34"/>
            </p:custDataLst>
          </p:nvPr>
        </p:nvGrpSpPr>
        <p:grpSpPr bwMode="auto">
          <a:xfrm>
            <a:off x="7362825" y="285750"/>
            <a:ext cx="1377950" cy="365125"/>
            <a:chOff x="2266" y="167"/>
            <a:chExt cx="868" cy="230"/>
          </a:xfrm>
        </p:grpSpPr>
        <p:sp>
          <p:nvSpPr>
            <p:cNvPr id="1353" name="Text Box 329" hidden="1"/>
            <p:cNvSpPr txBox="1">
              <a:spLocks noChangeArrowheads="1"/>
            </p:cNvSpPr>
            <p:nvPr userDrawn="1">
              <p:custDataLst>
                <p:tags r:id="rId53"/>
              </p:custDataLst>
            </p:nvPr>
          </p:nvSpPr>
          <p:spPr bwMode="auto">
            <a:xfrm>
              <a:off x="2480" y="167"/>
              <a:ext cx="654" cy="23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l">
                <a:defRPr/>
              </a:pPr>
              <a:r>
                <a:rPr lang="en-US" sz="1200"/>
                <a:t>CAGR 2009-10</a:t>
              </a:r>
            </a:p>
            <a:p>
              <a:pPr algn="l">
                <a:defRPr/>
              </a:pPr>
              <a:r>
                <a:rPr lang="en-US" sz="1200">
                  <a:solidFill>
                    <a:srgbClr val="808080"/>
                  </a:solidFill>
                </a:rPr>
                <a:t>Percent</a:t>
              </a:r>
            </a:p>
          </p:txBody>
        </p:sp>
        <p:sp>
          <p:nvSpPr>
            <p:cNvPr id="1354" name="Oval 330" hidden="1"/>
            <p:cNvSpPr>
              <a:spLocks noChangeArrowheads="1"/>
            </p:cNvSpPr>
            <p:nvPr userDrawn="1">
              <p:custDataLst>
                <p:tags r:id="rId54"/>
              </p:custDataLst>
            </p:nvPr>
          </p:nvSpPr>
          <p:spPr bwMode="auto">
            <a:xfrm>
              <a:off x="2266" y="171"/>
              <a:ext cx="168" cy="108"/>
            </a:xfrm>
            <a:prstGeom prst="ellipse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</p:grpSp>
      <p:grpSp>
        <p:nvGrpSpPr>
          <p:cNvPr id="1045" name="McK 7f. 10pt CAGR legend" hidden="1"/>
          <p:cNvGrpSpPr>
            <a:grpSpLocks/>
          </p:cNvGrpSpPr>
          <p:nvPr>
            <p:custDataLst>
              <p:tags r:id="rId35"/>
            </p:custDataLst>
          </p:nvPr>
        </p:nvGrpSpPr>
        <p:grpSpPr bwMode="auto">
          <a:xfrm>
            <a:off x="7558088" y="285750"/>
            <a:ext cx="1182687" cy="309563"/>
            <a:chOff x="2279" y="399"/>
            <a:chExt cx="745" cy="195"/>
          </a:xfrm>
        </p:grpSpPr>
        <p:sp>
          <p:nvSpPr>
            <p:cNvPr id="1357" name="Oval 333" hidden="1"/>
            <p:cNvSpPr>
              <a:spLocks noChangeArrowheads="1"/>
            </p:cNvSpPr>
            <p:nvPr userDrawn="1"/>
          </p:nvSpPr>
          <p:spPr bwMode="auto">
            <a:xfrm>
              <a:off x="2279" y="399"/>
              <a:ext cx="142" cy="101"/>
            </a:xfrm>
            <a:prstGeom prst="ellipse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358" name="Text Box 334" hidden="1"/>
            <p:cNvSpPr txBox="1">
              <a:spLocks noChangeArrowheads="1"/>
            </p:cNvSpPr>
            <p:nvPr userDrawn="1"/>
          </p:nvSpPr>
          <p:spPr bwMode="auto">
            <a:xfrm>
              <a:off x="2480" y="402"/>
              <a:ext cx="544" cy="19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l">
                <a:defRPr/>
              </a:pPr>
              <a:r>
                <a:rPr lang="en-US" sz="1000"/>
                <a:t>CAGR 2009-10</a:t>
              </a:r>
            </a:p>
            <a:p>
              <a:pPr algn="l">
                <a:defRPr/>
              </a:pPr>
              <a:r>
                <a:rPr lang="en-US" sz="1000">
                  <a:solidFill>
                    <a:srgbClr val="808080"/>
                  </a:solidFill>
                </a:rPr>
                <a:t>Percent</a:t>
              </a:r>
            </a:p>
          </p:txBody>
        </p:sp>
      </p:grpSp>
      <p:grpSp>
        <p:nvGrpSpPr>
          <p:cNvPr id="1046" name="McK 7c. Moon legend" hidden="1"/>
          <p:cNvGrpSpPr>
            <a:grpSpLocks/>
          </p:cNvGrpSpPr>
          <p:nvPr>
            <p:custDataLst>
              <p:tags r:id="rId36"/>
            </p:custDataLst>
          </p:nvPr>
        </p:nvGrpSpPr>
        <p:grpSpPr bwMode="auto">
          <a:xfrm>
            <a:off x="7991475" y="285750"/>
            <a:ext cx="765175" cy="1106488"/>
            <a:chOff x="4062" y="180"/>
            <a:chExt cx="482" cy="697"/>
          </a:xfrm>
        </p:grpSpPr>
        <p:sp>
          <p:nvSpPr>
            <p:cNvPr id="1366" name="Text Box 342" hidden="1"/>
            <p:cNvSpPr txBox="1">
              <a:spLocks noChangeArrowheads="1"/>
            </p:cNvSpPr>
            <p:nvPr userDrawn="1">
              <p:custDataLst>
                <p:tags r:id="rId37"/>
              </p:custDataLst>
            </p:nvPr>
          </p:nvSpPr>
          <p:spPr bwMode="auto">
            <a:xfrm>
              <a:off x="4223" y="180"/>
              <a:ext cx="321" cy="6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l">
                <a:lnSpc>
                  <a:spcPts val="1400"/>
                </a:lnSpc>
                <a:spcAft>
                  <a:spcPts val="400"/>
                </a:spcAft>
                <a:defRPr/>
              </a:pPr>
              <a:r>
                <a:rPr lang="en-US" sz="1200"/>
                <a:t>Legend</a:t>
              </a:r>
            </a:p>
            <a:p>
              <a:pPr algn="l">
                <a:lnSpc>
                  <a:spcPts val="1400"/>
                </a:lnSpc>
                <a:spcAft>
                  <a:spcPts val="400"/>
                </a:spcAft>
                <a:defRPr/>
              </a:pPr>
              <a:r>
                <a:rPr lang="en-US" sz="1200"/>
                <a:t>Legend</a:t>
              </a:r>
            </a:p>
            <a:p>
              <a:pPr algn="l">
                <a:lnSpc>
                  <a:spcPts val="1400"/>
                </a:lnSpc>
                <a:spcAft>
                  <a:spcPts val="400"/>
                </a:spcAft>
                <a:defRPr/>
              </a:pPr>
              <a:r>
                <a:rPr lang="en-US" sz="1200"/>
                <a:t>Legend</a:t>
              </a:r>
            </a:p>
            <a:p>
              <a:pPr algn="l">
                <a:lnSpc>
                  <a:spcPts val="1400"/>
                </a:lnSpc>
                <a:spcAft>
                  <a:spcPts val="400"/>
                </a:spcAft>
                <a:defRPr/>
              </a:pPr>
              <a:r>
                <a:rPr lang="en-US" sz="1200"/>
                <a:t>Legend</a:t>
              </a:r>
            </a:p>
            <a:p>
              <a:pPr algn="l">
                <a:lnSpc>
                  <a:spcPts val="1400"/>
                </a:lnSpc>
                <a:spcAft>
                  <a:spcPts val="400"/>
                </a:spcAft>
                <a:defRPr/>
              </a:pPr>
              <a:r>
                <a:rPr lang="en-US" sz="1200"/>
                <a:t>Legend</a:t>
              </a:r>
            </a:p>
          </p:txBody>
        </p:sp>
        <p:grpSp>
          <p:nvGrpSpPr>
            <p:cNvPr id="1049" name="MoonLegend1" hidden="1"/>
            <p:cNvGrpSpPr>
              <a:grpSpLocks noChangeAspect="1"/>
            </p:cNvGrpSpPr>
            <p:nvPr userDrawn="1">
              <p:custDataLst>
                <p:tags r:id="rId38"/>
              </p:custDataLst>
            </p:nvPr>
          </p:nvGrpSpPr>
          <p:grpSpPr bwMode="auto">
            <a:xfrm>
              <a:off x="4062" y="181"/>
              <a:ext cx="116" cy="116"/>
              <a:chOff x="4533" y="183"/>
              <a:chExt cx="144" cy="144"/>
            </a:xfrm>
          </p:grpSpPr>
          <p:sp>
            <p:nvSpPr>
              <p:cNvPr id="1368" name="Oval 344" hidden="1"/>
              <p:cNvSpPr>
                <a:spLocks noChangeAspect="1" noChangeArrowheads="1"/>
              </p:cNvSpPr>
              <p:nvPr>
                <p:custDataLst>
                  <p:tags r:id="rId51"/>
                </p:custDataLst>
              </p:nvPr>
            </p:nvSpPr>
            <p:spPr bwMode="blackWhite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1369" name="Arc 345" hidden="1"/>
              <p:cNvSpPr>
                <a:spLocks noChangeAspect="1"/>
              </p:cNvSpPr>
              <p:nvPr>
                <p:custDataLst>
                  <p:tags r:id="rId52"/>
                </p:custDataLst>
              </p:nvPr>
            </p:nvSpPr>
            <p:spPr bwMode="black">
              <a:xfrm>
                <a:off x="4533" y="183"/>
                <a:ext cx="144" cy="144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21600 w 43200"/>
                  <a:gd name="T3" fmla="*/ 0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/>
              </a:p>
            </p:txBody>
          </p:sp>
        </p:grpSp>
        <p:grpSp>
          <p:nvGrpSpPr>
            <p:cNvPr id="1050" name="MoonLegend2" hidden="1"/>
            <p:cNvGrpSpPr>
              <a:grpSpLocks noChangeAspect="1"/>
            </p:cNvGrpSpPr>
            <p:nvPr userDrawn="1">
              <p:custDataLst>
                <p:tags r:id="rId39"/>
              </p:custDataLst>
            </p:nvPr>
          </p:nvGrpSpPr>
          <p:grpSpPr bwMode="auto">
            <a:xfrm>
              <a:off x="4062" y="328"/>
              <a:ext cx="116" cy="116"/>
              <a:chOff x="1694" y="2044"/>
              <a:chExt cx="160" cy="160"/>
            </a:xfrm>
          </p:grpSpPr>
          <p:sp>
            <p:nvSpPr>
              <p:cNvPr id="1371" name="Oval 347" hidden="1"/>
              <p:cNvSpPr>
                <a:spLocks noChangeAspect="1" noChangeArrowheads="1"/>
              </p:cNvSpPr>
              <p:nvPr>
                <p:custDataLst>
                  <p:tags r:id="rId49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1372" name="Arc 348" hidden="1"/>
              <p:cNvSpPr>
                <a:spLocks noChangeAspect="1"/>
              </p:cNvSpPr>
              <p:nvPr>
                <p:custDataLst>
                  <p:tags r:id="rId50"/>
                </p:custDataLst>
              </p:nvPr>
            </p:nvSpPr>
            <p:spPr bwMode="black">
              <a:xfrm>
                <a:off x="1774" y="2044"/>
                <a:ext cx="80" cy="80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21600"/>
                  <a:gd name="T2" fmla="*/ 21600 w 21600"/>
                  <a:gd name="T3" fmla="*/ 21600 h 21600"/>
                  <a:gd name="T4" fmla="*/ 0 w 21600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/>
              </a:p>
            </p:txBody>
          </p:sp>
        </p:grpSp>
        <p:grpSp>
          <p:nvGrpSpPr>
            <p:cNvPr id="1051" name="MoonLegend3" hidden="1"/>
            <p:cNvGrpSpPr>
              <a:grpSpLocks noChangeAspect="1"/>
            </p:cNvGrpSpPr>
            <p:nvPr userDrawn="1">
              <p:custDataLst>
                <p:tags r:id="rId40"/>
              </p:custDataLst>
            </p:nvPr>
          </p:nvGrpSpPr>
          <p:grpSpPr bwMode="auto">
            <a:xfrm>
              <a:off x="4062" y="475"/>
              <a:ext cx="116" cy="116"/>
              <a:chOff x="4495" y="897"/>
              <a:chExt cx="160" cy="160"/>
            </a:xfrm>
          </p:grpSpPr>
          <p:sp>
            <p:nvSpPr>
              <p:cNvPr id="1374" name="Oval 350" hidden="1"/>
              <p:cNvSpPr>
                <a:spLocks noChangeAspect="1" noChangeArrowheads="1"/>
              </p:cNvSpPr>
              <p:nvPr>
                <p:custDataLst>
                  <p:tags r:id="rId47"/>
                </p:custDataLst>
              </p:nvPr>
            </p:nvSpPr>
            <p:spPr bwMode="blackWhite">
              <a:xfrm>
                <a:off x="4495" y="8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1375" name="Arc 351" hidden="1"/>
              <p:cNvSpPr>
                <a:spLocks noChangeAspect="1"/>
              </p:cNvSpPr>
              <p:nvPr>
                <p:custDataLst>
                  <p:tags r:id="rId48"/>
                </p:custDataLst>
              </p:nvPr>
            </p:nvSpPr>
            <p:spPr bwMode="black">
              <a:xfrm>
                <a:off x="4575" y="897"/>
                <a:ext cx="80" cy="160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43200"/>
                  <a:gd name="T2" fmla="*/ 0 w 21600"/>
                  <a:gd name="T3" fmla="*/ 43200 h 43200"/>
                  <a:gd name="T4" fmla="*/ 0 w 216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/>
              </a:p>
            </p:txBody>
          </p:sp>
        </p:grpSp>
        <p:grpSp>
          <p:nvGrpSpPr>
            <p:cNvPr id="1052" name="MoonLegend4" hidden="1"/>
            <p:cNvGrpSpPr>
              <a:grpSpLocks noChangeAspect="1"/>
            </p:cNvGrpSpPr>
            <p:nvPr userDrawn="1">
              <p:custDataLst>
                <p:tags r:id="rId41"/>
              </p:custDataLst>
            </p:nvPr>
          </p:nvGrpSpPr>
          <p:grpSpPr bwMode="auto">
            <a:xfrm>
              <a:off x="4062" y="622"/>
              <a:ext cx="116" cy="116"/>
              <a:chOff x="4495" y="1198"/>
              <a:chExt cx="160" cy="160"/>
            </a:xfrm>
          </p:grpSpPr>
          <p:sp>
            <p:nvSpPr>
              <p:cNvPr id="1377" name="Oval 353" hidden="1"/>
              <p:cNvSpPr>
                <a:spLocks noChangeAspect="1" noChangeArrowheads="1"/>
              </p:cNvSpPr>
              <p:nvPr>
                <p:custDataLst>
                  <p:tags r:id="rId45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1378" name="Arc 354" hidden="1"/>
              <p:cNvSpPr>
                <a:spLocks noChangeAspect="1"/>
              </p:cNvSpPr>
              <p:nvPr>
                <p:custDataLst>
                  <p:tags r:id="rId46"/>
                </p:custDataLst>
              </p:nvPr>
            </p:nvSpPr>
            <p:spPr bwMode="black">
              <a:xfrm>
                <a:off x="4495" y="1198"/>
                <a:ext cx="160" cy="160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0 w 43200"/>
                  <a:gd name="T3" fmla="*/ 21600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/>
              </a:p>
            </p:txBody>
          </p:sp>
        </p:grpSp>
        <p:grpSp>
          <p:nvGrpSpPr>
            <p:cNvPr id="1053" name="MoonLegend5" hidden="1"/>
            <p:cNvGrpSpPr>
              <a:grpSpLocks noChangeAspect="1"/>
            </p:cNvGrpSpPr>
            <p:nvPr userDrawn="1">
              <p:custDataLst>
                <p:tags r:id="rId42"/>
              </p:custDataLst>
            </p:nvPr>
          </p:nvGrpSpPr>
          <p:grpSpPr bwMode="auto">
            <a:xfrm>
              <a:off x="4062" y="761"/>
              <a:ext cx="116" cy="116"/>
              <a:chOff x="4495" y="1440"/>
              <a:chExt cx="160" cy="160"/>
            </a:xfrm>
          </p:grpSpPr>
          <p:sp>
            <p:nvSpPr>
              <p:cNvPr id="1380" name="Oval 356" hidden="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blackWhite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1381" name="Oval 357" hidden="1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black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de-DE"/>
              </a:p>
            </p:txBody>
          </p:sp>
        </p:grpSp>
      </p:grpSp>
      <p:pic>
        <p:nvPicPr>
          <p:cNvPr id="61" name="Picture 13" descr="template_bar.png"/>
          <p:cNvPicPr>
            <a:picLocks noChangeAspect="1"/>
          </p:cNvPicPr>
          <p:nvPr userDrawn="1"/>
        </p:nvPicPr>
        <p:blipFill>
          <a:blip r:embed="rId63" cstate="print"/>
          <a:srcRect/>
          <a:stretch>
            <a:fillRect/>
          </a:stretch>
        </p:blipFill>
        <p:spPr bwMode="auto">
          <a:xfrm>
            <a:off x="0" y="0"/>
            <a:ext cx="8961967" cy="672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73" r:id="rId2"/>
    <p:sldLayoutId id="2147483685" r:id="rId3"/>
    <p:sldLayoutId id="2147483684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712" r:id="rId14"/>
    <p:sldLayoutId id="2147483713" r:id="rId15"/>
    <p:sldLayoutId id="2147483714" r:id="rId16"/>
    <p:sldLayoutId id="2147483715" r:id="rId17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folHlink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folHlink"/>
          </a:solidFill>
          <a:latin typeface="Arial" charset="0"/>
        </a:defRPr>
      </a:lvl2pPr>
      <a:lvl3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folHlink"/>
          </a:solidFill>
          <a:latin typeface="Arial" charset="0"/>
        </a:defRPr>
      </a:lvl3pPr>
      <a:lvl4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folHlink"/>
          </a:solidFill>
          <a:latin typeface="Arial" charset="0"/>
        </a:defRPr>
      </a:lvl4pPr>
      <a:lvl5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folHlink"/>
          </a:solidFill>
          <a:latin typeface="Arial" charset="0"/>
        </a:defRPr>
      </a:lvl5pPr>
      <a:lvl6pPr marL="457200" algn="l" defTabSz="89535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folHlink"/>
          </a:solidFill>
          <a:latin typeface="Arial" charset="0"/>
        </a:defRPr>
      </a:lvl6pPr>
      <a:lvl7pPr marL="914400" algn="l" defTabSz="89535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folHlink"/>
          </a:solidFill>
          <a:latin typeface="Arial" charset="0"/>
        </a:defRPr>
      </a:lvl7pPr>
      <a:lvl8pPr marL="1371600" algn="l" defTabSz="89535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folHlink"/>
          </a:solidFill>
          <a:latin typeface="Arial" charset="0"/>
        </a:defRPr>
      </a:lvl8pPr>
      <a:lvl9pPr marL="1828800" algn="l" defTabSz="89535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folHlink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47675" y="6229350"/>
            <a:ext cx="2090738" cy="3587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DCAB8D-5DB2-4DE8-B762-0703AFCDFD0D}" type="datetimeFigureOut">
              <a:rPr lang="it-IT" smtClean="0"/>
              <a:t>26/10/2015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062288" y="6229350"/>
            <a:ext cx="2836862" cy="3587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423025" y="6229350"/>
            <a:ext cx="2090738" cy="3587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A2B2C7-EEB3-4461-85D2-513AD554CD6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71489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47675" y="6229350"/>
            <a:ext cx="2090738" cy="3587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62288" y="6229350"/>
            <a:ext cx="2836862" cy="3587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23025" y="6229350"/>
            <a:ext cx="2090738" cy="3587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8B9B67-4FD4-4916-92D9-362712787BF4}" type="slidenum">
              <a:rPr lang="de-DE" smtClean="0"/>
              <a:pPr/>
              <a:t>‹N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hf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47675" y="6229350"/>
            <a:ext cx="2090738" cy="3587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62288" y="6229350"/>
            <a:ext cx="2836862" cy="3587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23025" y="6229350"/>
            <a:ext cx="2090738" cy="3587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DF1E71-D21A-43D8-B3F2-F41C6E4BBD27}" type="slidenum">
              <a:rPr lang="de-DE" smtClean="0"/>
              <a:pPr/>
              <a:t>‹N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hf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976884" y="1638775"/>
            <a:ext cx="7086600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80322" dir="1106097" algn="ctr" rotWithShape="0">
              <a:srgbClr val="FFFFFF"/>
            </a:outerShdw>
          </a:effectLst>
        </p:spPr>
        <p:txBody>
          <a:bodyPr>
            <a:spAutoFit/>
          </a:bodyPr>
          <a:lstStyle/>
          <a:p>
            <a:pPr algn="ctr" eaLnBrk="0" hangingPunct="0">
              <a:lnSpc>
                <a:spcPct val="150000"/>
              </a:lnSpc>
              <a:spcBef>
                <a:spcPts val="0"/>
              </a:spcBef>
              <a:defRPr/>
            </a:pPr>
            <a:r>
              <a:rPr lang="it-IT" sz="3600" b="1" dirty="0" smtClean="0">
                <a:solidFill>
                  <a:srgbClr val="3366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Riepilogo </a:t>
            </a:r>
          </a:p>
          <a:p>
            <a:pPr algn="ctr" eaLnBrk="0" hangingPunct="0">
              <a:lnSpc>
                <a:spcPct val="150000"/>
              </a:lnSpc>
              <a:spcBef>
                <a:spcPts val="0"/>
              </a:spcBef>
              <a:defRPr/>
            </a:pPr>
            <a:r>
              <a:rPr lang="it-IT" sz="3600" b="1" dirty="0" smtClean="0">
                <a:solidFill>
                  <a:srgbClr val="3366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Sintetico</a:t>
            </a:r>
            <a:endParaRPr lang="it-IT" sz="3600" b="1" dirty="0">
              <a:solidFill>
                <a:srgbClr val="3366CC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Verdana" pitchFamily="34" charset="0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D8E84-CFDE-41D6-9E71-F68553C9E940}" type="slidenum">
              <a:rPr lang="en-US" smtClean="0"/>
              <a:pPr/>
              <a:t>0</a:t>
            </a:fld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5" name="Group 8"/>
          <p:cNvGrpSpPr>
            <a:grpSpLocks/>
          </p:cNvGrpSpPr>
          <p:nvPr/>
        </p:nvGrpSpPr>
        <p:grpSpPr bwMode="auto">
          <a:xfrm>
            <a:off x="6463835" y="2810453"/>
            <a:ext cx="1150620" cy="1636395"/>
            <a:chOff x="2632" y="11122"/>
            <a:chExt cx="2902" cy="3763"/>
          </a:xfrm>
        </p:grpSpPr>
        <p:grpSp>
          <p:nvGrpSpPr>
            <p:cNvPr id="8" name="Group 29"/>
            <p:cNvGrpSpPr>
              <a:grpSpLocks/>
            </p:cNvGrpSpPr>
            <p:nvPr/>
          </p:nvGrpSpPr>
          <p:grpSpPr bwMode="auto">
            <a:xfrm>
              <a:off x="2948" y="12575"/>
              <a:ext cx="413" cy="1181"/>
              <a:chOff x="2948" y="12575"/>
              <a:chExt cx="413" cy="1181"/>
            </a:xfrm>
          </p:grpSpPr>
          <p:sp>
            <p:nvSpPr>
              <p:cNvPr id="29" name="Freeform 30"/>
              <p:cNvSpPr>
                <a:spLocks/>
              </p:cNvSpPr>
              <p:nvPr/>
            </p:nvSpPr>
            <p:spPr bwMode="auto">
              <a:xfrm>
                <a:off x="2948" y="12575"/>
                <a:ext cx="413" cy="1181"/>
              </a:xfrm>
              <a:custGeom>
                <a:avLst/>
                <a:gdLst>
                  <a:gd name="T0" fmla="+- 0 3162 2948"/>
                  <a:gd name="T1" fmla="*/ T0 w 413"/>
                  <a:gd name="T2" fmla="+- 0 12575 12575"/>
                  <a:gd name="T3" fmla="*/ 12575 h 1181"/>
                  <a:gd name="T4" fmla="+- 0 3067 2948"/>
                  <a:gd name="T5" fmla="*/ T4 w 413"/>
                  <a:gd name="T6" fmla="+- 0 12575 12575"/>
                  <a:gd name="T7" fmla="*/ 12575 h 1181"/>
                  <a:gd name="T8" fmla="+- 0 3005 2948"/>
                  <a:gd name="T9" fmla="*/ T8 w 413"/>
                  <a:gd name="T10" fmla="+- 0 12616 12575"/>
                  <a:gd name="T11" fmla="*/ 12616 h 1181"/>
                  <a:gd name="T12" fmla="+- 0 2948 2948"/>
                  <a:gd name="T13" fmla="*/ T12 w 413"/>
                  <a:gd name="T14" fmla="+- 0 12713 12575"/>
                  <a:gd name="T15" fmla="*/ 12713 h 1181"/>
                  <a:gd name="T16" fmla="+- 0 2948 2948"/>
                  <a:gd name="T17" fmla="*/ T16 w 413"/>
                  <a:gd name="T18" fmla="+- 0 12852 12575"/>
                  <a:gd name="T19" fmla="*/ 12852 h 1181"/>
                  <a:gd name="T20" fmla="+- 0 2981 2948"/>
                  <a:gd name="T21" fmla="*/ T20 w 413"/>
                  <a:gd name="T22" fmla="+- 0 12982 12575"/>
                  <a:gd name="T23" fmla="*/ 12982 h 1181"/>
                  <a:gd name="T24" fmla="+- 0 3020 2948"/>
                  <a:gd name="T25" fmla="*/ T24 w 413"/>
                  <a:gd name="T26" fmla="+- 0 13080 12575"/>
                  <a:gd name="T27" fmla="*/ 13080 h 1181"/>
                  <a:gd name="T28" fmla="+- 0 3020 2948"/>
                  <a:gd name="T29" fmla="*/ T28 w 413"/>
                  <a:gd name="T30" fmla="+- 0 13226 12575"/>
                  <a:gd name="T31" fmla="*/ 13226 h 1181"/>
                  <a:gd name="T32" fmla="+- 0 2998 2948"/>
                  <a:gd name="T33" fmla="*/ T32 w 413"/>
                  <a:gd name="T34" fmla="+- 0 13364 12575"/>
                  <a:gd name="T35" fmla="*/ 13364 h 1181"/>
                  <a:gd name="T36" fmla="+- 0 3020 2948"/>
                  <a:gd name="T37" fmla="*/ T36 w 413"/>
                  <a:gd name="T38" fmla="+- 0 13560 12575"/>
                  <a:gd name="T39" fmla="*/ 13560 h 1181"/>
                  <a:gd name="T40" fmla="+- 0 3044 2948"/>
                  <a:gd name="T41" fmla="*/ T40 w 413"/>
                  <a:gd name="T42" fmla="+- 0 13666 12575"/>
                  <a:gd name="T43" fmla="*/ 13666 h 1181"/>
                  <a:gd name="T44" fmla="+- 0 3115 2948"/>
                  <a:gd name="T45" fmla="*/ T44 w 413"/>
                  <a:gd name="T46" fmla="+- 0 13741 12575"/>
                  <a:gd name="T47" fmla="*/ 13741 h 1181"/>
                  <a:gd name="T48" fmla="+- 0 3172 2948"/>
                  <a:gd name="T49" fmla="*/ T48 w 413"/>
                  <a:gd name="T50" fmla="+- 0 13756 12575"/>
                  <a:gd name="T51" fmla="*/ 13756 h 1181"/>
                  <a:gd name="T52" fmla="+- 0 3282 2948"/>
                  <a:gd name="T53" fmla="*/ T52 w 413"/>
                  <a:gd name="T54" fmla="+- 0 13691 12575"/>
                  <a:gd name="T55" fmla="*/ 13691 h 1181"/>
                  <a:gd name="T56" fmla="+- 0 3329 2948"/>
                  <a:gd name="T57" fmla="*/ T56 w 413"/>
                  <a:gd name="T58" fmla="+- 0 13592 12575"/>
                  <a:gd name="T59" fmla="*/ 13592 h 1181"/>
                  <a:gd name="T60" fmla="+- 0 3361 2948"/>
                  <a:gd name="T61" fmla="*/ T60 w 413"/>
                  <a:gd name="T62" fmla="+- 0 13414 12575"/>
                  <a:gd name="T63" fmla="*/ 13414 h 1181"/>
                  <a:gd name="T64" fmla="+- 0 3361 2948"/>
                  <a:gd name="T65" fmla="*/ T64 w 413"/>
                  <a:gd name="T66" fmla="+- 0 13193 12575"/>
                  <a:gd name="T67" fmla="*/ 13193 h 1181"/>
                  <a:gd name="T68" fmla="+- 0 3354 2948"/>
                  <a:gd name="T69" fmla="*/ T68 w 413"/>
                  <a:gd name="T70" fmla="+- 0 13000 12575"/>
                  <a:gd name="T71" fmla="*/ 13000 h 1181"/>
                  <a:gd name="T72" fmla="+- 0 3329 2948"/>
                  <a:gd name="T73" fmla="*/ T72 w 413"/>
                  <a:gd name="T74" fmla="+- 0 12836 12575"/>
                  <a:gd name="T75" fmla="*/ 12836 h 1181"/>
                  <a:gd name="T76" fmla="+- 0 3282 2948"/>
                  <a:gd name="T77" fmla="*/ T76 w 413"/>
                  <a:gd name="T78" fmla="+- 0 12689 12575"/>
                  <a:gd name="T79" fmla="*/ 12689 h 1181"/>
                  <a:gd name="T80" fmla="+- 0 3234 2948"/>
                  <a:gd name="T81" fmla="*/ T80 w 413"/>
                  <a:gd name="T82" fmla="+- 0 12600 12575"/>
                  <a:gd name="T83" fmla="*/ 12600 h 1181"/>
                  <a:gd name="T84" fmla="+- 0 3162 2948"/>
                  <a:gd name="T85" fmla="*/ T84 w 413"/>
                  <a:gd name="T86" fmla="+- 0 12575 12575"/>
                  <a:gd name="T87" fmla="*/ 12575 h 1181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  <a:cxn ang="0">
                    <a:pos x="T17" y="T19"/>
                  </a:cxn>
                  <a:cxn ang="0">
                    <a:pos x="T21" y="T23"/>
                  </a:cxn>
                  <a:cxn ang="0">
                    <a:pos x="T25" y="T27"/>
                  </a:cxn>
                  <a:cxn ang="0">
                    <a:pos x="T29" y="T31"/>
                  </a:cxn>
                  <a:cxn ang="0">
                    <a:pos x="T33" y="T35"/>
                  </a:cxn>
                  <a:cxn ang="0">
                    <a:pos x="T37" y="T39"/>
                  </a:cxn>
                  <a:cxn ang="0">
                    <a:pos x="T41" y="T43"/>
                  </a:cxn>
                  <a:cxn ang="0">
                    <a:pos x="T45" y="T47"/>
                  </a:cxn>
                  <a:cxn ang="0">
                    <a:pos x="T49" y="T51"/>
                  </a:cxn>
                  <a:cxn ang="0">
                    <a:pos x="T53" y="T55"/>
                  </a:cxn>
                  <a:cxn ang="0">
                    <a:pos x="T57" y="T59"/>
                  </a:cxn>
                  <a:cxn ang="0">
                    <a:pos x="T61" y="T63"/>
                  </a:cxn>
                  <a:cxn ang="0">
                    <a:pos x="T65" y="T67"/>
                  </a:cxn>
                  <a:cxn ang="0">
                    <a:pos x="T69" y="T71"/>
                  </a:cxn>
                  <a:cxn ang="0">
                    <a:pos x="T73" y="T75"/>
                  </a:cxn>
                  <a:cxn ang="0">
                    <a:pos x="T77" y="T79"/>
                  </a:cxn>
                  <a:cxn ang="0">
                    <a:pos x="T81" y="T83"/>
                  </a:cxn>
                  <a:cxn ang="0">
                    <a:pos x="T85" y="T87"/>
                  </a:cxn>
                </a:cxnLst>
                <a:rect l="0" t="0" r="r" b="b"/>
                <a:pathLst>
                  <a:path w="413" h="1181">
                    <a:moveTo>
                      <a:pt x="214" y="0"/>
                    </a:moveTo>
                    <a:lnTo>
                      <a:pt x="119" y="0"/>
                    </a:lnTo>
                    <a:lnTo>
                      <a:pt x="57" y="41"/>
                    </a:lnTo>
                    <a:lnTo>
                      <a:pt x="0" y="138"/>
                    </a:lnTo>
                    <a:lnTo>
                      <a:pt x="0" y="277"/>
                    </a:lnTo>
                    <a:lnTo>
                      <a:pt x="33" y="407"/>
                    </a:lnTo>
                    <a:lnTo>
                      <a:pt x="72" y="505"/>
                    </a:lnTo>
                    <a:lnTo>
                      <a:pt x="72" y="651"/>
                    </a:lnTo>
                    <a:lnTo>
                      <a:pt x="50" y="789"/>
                    </a:lnTo>
                    <a:lnTo>
                      <a:pt x="72" y="985"/>
                    </a:lnTo>
                    <a:lnTo>
                      <a:pt x="96" y="1091"/>
                    </a:lnTo>
                    <a:lnTo>
                      <a:pt x="167" y="1166"/>
                    </a:lnTo>
                    <a:lnTo>
                      <a:pt x="224" y="1181"/>
                    </a:lnTo>
                    <a:lnTo>
                      <a:pt x="334" y="1116"/>
                    </a:lnTo>
                    <a:lnTo>
                      <a:pt x="381" y="1017"/>
                    </a:lnTo>
                    <a:lnTo>
                      <a:pt x="413" y="839"/>
                    </a:lnTo>
                    <a:lnTo>
                      <a:pt x="413" y="618"/>
                    </a:lnTo>
                    <a:lnTo>
                      <a:pt x="406" y="425"/>
                    </a:lnTo>
                    <a:lnTo>
                      <a:pt x="381" y="261"/>
                    </a:lnTo>
                    <a:lnTo>
                      <a:pt x="334" y="114"/>
                    </a:lnTo>
                    <a:lnTo>
                      <a:pt x="286" y="25"/>
                    </a:lnTo>
                    <a:lnTo>
                      <a:pt x="214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it-IT"/>
              </a:p>
            </p:txBody>
          </p:sp>
        </p:grpSp>
        <p:grpSp>
          <p:nvGrpSpPr>
            <p:cNvPr id="9" name="Group 27"/>
            <p:cNvGrpSpPr>
              <a:grpSpLocks/>
            </p:cNvGrpSpPr>
            <p:nvPr/>
          </p:nvGrpSpPr>
          <p:grpSpPr bwMode="auto">
            <a:xfrm>
              <a:off x="3143" y="12619"/>
              <a:ext cx="546" cy="1168"/>
              <a:chOff x="3143" y="12619"/>
              <a:chExt cx="546" cy="1168"/>
            </a:xfrm>
          </p:grpSpPr>
          <p:sp>
            <p:nvSpPr>
              <p:cNvPr id="28" name="Freeform 28"/>
              <p:cNvSpPr>
                <a:spLocks/>
              </p:cNvSpPr>
              <p:nvPr/>
            </p:nvSpPr>
            <p:spPr bwMode="auto">
              <a:xfrm>
                <a:off x="3143" y="12619"/>
                <a:ext cx="546" cy="1168"/>
              </a:xfrm>
              <a:custGeom>
                <a:avLst/>
                <a:gdLst>
                  <a:gd name="T0" fmla="+- 0 3205 3143"/>
                  <a:gd name="T1" fmla="*/ T0 w 546"/>
                  <a:gd name="T2" fmla="+- 0 12619 12619"/>
                  <a:gd name="T3" fmla="*/ 12619 h 1168"/>
                  <a:gd name="T4" fmla="+- 0 3143 3143"/>
                  <a:gd name="T5" fmla="*/ T4 w 546"/>
                  <a:gd name="T6" fmla="+- 0 12725 12619"/>
                  <a:gd name="T7" fmla="*/ 12725 h 1168"/>
                  <a:gd name="T8" fmla="+- 0 3253 3143"/>
                  <a:gd name="T9" fmla="*/ T8 w 546"/>
                  <a:gd name="T10" fmla="+- 0 12757 12619"/>
                  <a:gd name="T11" fmla="*/ 12757 h 1168"/>
                  <a:gd name="T12" fmla="+- 0 3356 3143"/>
                  <a:gd name="T13" fmla="*/ T12 w 546"/>
                  <a:gd name="T14" fmla="+- 0 12782 12619"/>
                  <a:gd name="T15" fmla="*/ 12782 h 1168"/>
                  <a:gd name="T16" fmla="+- 0 3427 3143"/>
                  <a:gd name="T17" fmla="*/ T16 w 546"/>
                  <a:gd name="T18" fmla="+- 0 12847 12619"/>
                  <a:gd name="T19" fmla="*/ 12847 h 1168"/>
                  <a:gd name="T20" fmla="+- 0 3546 3143"/>
                  <a:gd name="T21" fmla="*/ T20 w 546"/>
                  <a:gd name="T22" fmla="+- 0 12978 12619"/>
                  <a:gd name="T23" fmla="*/ 12978 h 1168"/>
                  <a:gd name="T24" fmla="+- 0 3618 3143"/>
                  <a:gd name="T25" fmla="*/ T24 w 546"/>
                  <a:gd name="T26" fmla="+- 0 13126 12619"/>
                  <a:gd name="T27" fmla="*/ 13126 h 1168"/>
                  <a:gd name="T28" fmla="+- 0 3618 3143"/>
                  <a:gd name="T29" fmla="*/ T28 w 546"/>
                  <a:gd name="T30" fmla="+- 0 13224 12619"/>
                  <a:gd name="T31" fmla="*/ 13224 h 1168"/>
                  <a:gd name="T32" fmla="+- 0 3562 3143"/>
                  <a:gd name="T33" fmla="*/ T32 w 546"/>
                  <a:gd name="T34" fmla="+- 0 13313 12619"/>
                  <a:gd name="T35" fmla="*/ 13313 h 1168"/>
                  <a:gd name="T36" fmla="+- 0 3427 3143"/>
                  <a:gd name="T37" fmla="*/ T36 w 546"/>
                  <a:gd name="T38" fmla="+- 0 13410 12619"/>
                  <a:gd name="T39" fmla="*/ 13410 h 1168"/>
                  <a:gd name="T40" fmla="+- 0 3356 3143"/>
                  <a:gd name="T41" fmla="*/ T40 w 546"/>
                  <a:gd name="T42" fmla="+- 0 13460 12619"/>
                  <a:gd name="T43" fmla="*/ 13460 h 1168"/>
                  <a:gd name="T44" fmla="+- 0 3372 3143"/>
                  <a:gd name="T45" fmla="*/ T44 w 546"/>
                  <a:gd name="T46" fmla="+- 0 13534 12619"/>
                  <a:gd name="T47" fmla="*/ 13534 h 1168"/>
                  <a:gd name="T48" fmla="+- 0 3420 3143"/>
                  <a:gd name="T49" fmla="*/ T48 w 546"/>
                  <a:gd name="T50" fmla="+- 0 13591 12619"/>
                  <a:gd name="T51" fmla="*/ 13591 h 1168"/>
                  <a:gd name="T52" fmla="+- 0 3451 3143"/>
                  <a:gd name="T53" fmla="*/ T52 w 546"/>
                  <a:gd name="T54" fmla="+- 0 13688 12619"/>
                  <a:gd name="T55" fmla="*/ 13688 h 1168"/>
                  <a:gd name="T56" fmla="+- 0 3451 3143"/>
                  <a:gd name="T57" fmla="*/ T56 w 546"/>
                  <a:gd name="T58" fmla="+- 0 13754 12619"/>
                  <a:gd name="T59" fmla="*/ 13754 h 1168"/>
                  <a:gd name="T60" fmla="+- 0 3491 3143"/>
                  <a:gd name="T61" fmla="*/ T60 w 546"/>
                  <a:gd name="T62" fmla="+- 0 13787 12619"/>
                  <a:gd name="T63" fmla="*/ 13787 h 1168"/>
                  <a:gd name="T64" fmla="+- 0 3522 3143"/>
                  <a:gd name="T65" fmla="*/ T64 w 546"/>
                  <a:gd name="T66" fmla="+- 0 13714 12619"/>
                  <a:gd name="T67" fmla="*/ 13714 h 1168"/>
                  <a:gd name="T68" fmla="+- 0 3491 3143"/>
                  <a:gd name="T69" fmla="*/ T68 w 546"/>
                  <a:gd name="T70" fmla="+- 0 13591 12619"/>
                  <a:gd name="T71" fmla="*/ 13591 h 1168"/>
                  <a:gd name="T72" fmla="+- 0 3427 3143"/>
                  <a:gd name="T73" fmla="*/ T72 w 546"/>
                  <a:gd name="T74" fmla="+- 0 13534 12619"/>
                  <a:gd name="T75" fmla="*/ 13534 h 1168"/>
                  <a:gd name="T76" fmla="+- 0 3427 3143"/>
                  <a:gd name="T77" fmla="*/ T76 w 546"/>
                  <a:gd name="T78" fmla="+- 0 13486 12619"/>
                  <a:gd name="T79" fmla="*/ 13486 h 1168"/>
                  <a:gd name="T80" fmla="+- 0 3522 3143"/>
                  <a:gd name="T81" fmla="*/ T80 w 546"/>
                  <a:gd name="T82" fmla="+- 0 13435 12619"/>
                  <a:gd name="T83" fmla="*/ 13435 h 1168"/>
                  <a:gd name="T84" fmla="+- 0 3641 3143"/>
                  <a:gd name="T85" fmla="*/ T84 w 546"/>
                  <a:gd name="T86" fmla="+- 0 13362 12619"/>
                  <a:gd name="T87" fmla="*/ 13362 h 1168"/>
                  <a:gd name="T88" fmla="+- 0 3689 3143"/>
                  <a:gd name="T89" fmla="*/ T88 w 546"/>
                  <a:gd name="T90" fmla="+- 0 13247 12619"/>
                  <a:gd name="T91" fmla="*/ 13247 h 1168"/>
                  <a:gd name="T92" fmla="+- 0 3682 3143"/>
                  <a:gd name="T93" fmla="*/ T92 w 546"/>
                  <a:gd name="T94" fmla="+- 0 13076 12619"/>
                  <a:gd name="T95" fmla="*/ 13076 h 1168"/>
                  <a:gd name="T96" fmla="+- 0 3618 3143"/>
                  <a:gd name="T97" fmla="*/ T96 w 546"/>
                  <a:gd name="T98" fmla="+- 0 12920 12619"/>
                  <a:gd name="T99" fmla="*/ 12920 h 1168"/>
                  <a:gd name="T100" fmla="+- 0 3515 3143"/>
                  <a:gd name="T101" fmla="*/ T100 w 546"/>
                  <a:gd name="T102" fmla="+- 0 12757 12619"/>
                  <a:gd name="T103" fmla="*/ 12757 h 1168"/>
                  <a:gd name="T104" fmla="+- 0 3380 3143"/>
                  <a:gd name="T105" fmla="*/ T104 w 546"/>
                  <a:gd name="T106" fmla="+- 0 12660 12619"/>
                  <a:gd name="T107" fmla="*/ 12660 h 1168"/>
                  <a:gd name="T108" fmla="+- 0 3205 3143"/>
                  <a:gd name="T109" fmla="*/ T108 w 546"/>
                  <a:gd name="T110" fmla="+- 0 12619 12619"/>
                  <a:gd name="T111" fmla="*/ 12619 h 1168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  <a:cxn ang="0">
                    <a:pos x="T17" y="T19"/>
                  </a:cxn>
                  <a:cxn ang="0">
                    <a:pos x="T21" y="T23"/>
                  </a:cxn>
                  <a:cxn ang="0">
                    <a:pos x="T25" y="T27"/>
                  </a:cxn>
                  <a:cxn ang="0">
                    <a:pos x="T29" y="T31"/>
                  </a:cxn>
                  <a:cxn ang="0">
                    <a:pos x="T33" y="T35"/>
                  </a:cxn>
                  <a:cxn ang="0">
                    <a:pos x="T37" y="T39"/>
                  </a:cxn>
                  <a:cxn ang="0">
                    <a:pos x="T41" y="T43"/>
                  </a:cxn>
                  <a:cxn ang="0">
                    <a:pos x="T45" y="T47"/>
                  </a:cxn>
                  <a:cxn ang="0">
                    <a:pos x="T49" y="T51"/>
                  </a:cxn>
                  <a:cxn ang="0">
                    <a:pos x="T53" y="T55"/>
                  </a:cxn>
                  <a:cxn ang="0">
                    <a:pos x="T57" y="T59"/>
                  </a:cxn>
                  <a:cxn ang="0">
                    <a:pos x="T61" y="T63"/>
                  </a:cxn>
                  <a:cxn ang="0">
                    <a:pos x="T65" y="T67"/>
                  </a:cxn>
                  <a:cxn ang="0">
                    <a:pos x="T69" y="T71"/>
                  </a:cxn>
                  <a:cxn ang="0">
                    <a:pos x="T73" y="T75"/>
                  </a:cxn>
                  <a:cxn ang="0">
                    <a:pos x="T77" y="T79"/>
                  </a:cxn>
                  <a:cxn ang="0">
                    <a:pos x="T81" y="T83"/>
                  </a:cxn>
                  <a:cxn ang="0">
                    <a:pos x="T85" y="T87"/>
                  </a:cxn>
                  <a:cxn ang="0">
                    <a:pos x="T89" y="T91"/>
                  </a:cxn>
                  <a:cxn ang="0">
                    <a:pos x="T93" y="T95"/>
                  </a:cxn>
                  <a:cxn ang="0">
                    <a:pos x="T97" y="T99"/>
                  </a:cxn>
                  <a:cxn ang="0">
                    <a:pos x="T101" y="T103"/>
                  </a:cxn>
                  <a:cxn ang="0">
                    <a:pos x="T105" y="T107"/>
                  </a:cxn>
                  <a:cxn ang="0">
                    <a:pos x="T109" y="T111"/>
                  </a:cxn>
                </a:cxnLst>
                <a:rect l="0" t="0" r="r" b="b"/>
                <a:pathLst>
                  <a:path w="546" h="1168">
                    <a:moveTo>
                      <a:pt x="62" y="0"/>
                    </a:moveTo>
                    <a:lnTo>
                      <a:pt x="0" y="106"/>
                    </a:lnTo>
                    <a:lnTo>
                      <a:pt x="110" y="138"/>
                    </a:lnTo>
                    <a:lnTo>
                      <a:pt x="213" y="163"/>
                    </a:lnTo>
                    <a:lnTo>
                      <a:pt x="284" y="228"/>
                    </a:lnTo>
                    <a:lnTo>
                      <a:pt x="403" y="359"/>
                    </a:lnTo>
                    <a:lnTo>
                      <a:pt x="475" y="507"/>
                    </a:lnTo>
                    <a:lnTo>
                      <a:pt x="475" y="605"/>
                    </a:lnTo>
                    <a:lnTo>
                      <a:pt x="419" y="694"/>
                    </a:lnTo>
                    <a:lnTo>
                      <a:pt x="284" y="791"/>
                    </a:lnTo>
                    <a:lnTo>
                      <a:pt x="213" y="841"/>
                    </a:lnTo>
                    <a:lnTo>
                      <a:pt x="229" y="915"/>
                    </a:lnTo>
                    <a:lnTo>
                      <a:pt x="277" y="972"/>
                    </a:lnTo>
                    <a:lnTo>
                      <a:pt x="308" y="1069"/>
                    </a:lnTo>
                    <a:lnTo>
                      <a:pt x="308" y="1135"/>
                    </a:lnTo>
                    <a:lnTo>
                      <a:pt x="348" y="1168"/>
                    </a:lnTo>
                    <a:lnTo>
                      <a:pt x="379" y="1095"/>
                    </a:lnTo>
                    <a:lnTo>
                      <a:pt x="348" y="972"/>
                    </a:lnTo>
                    <a:lnTo>
                      <a:pt x="284" y="915"/>
                    </a:lnTo>
                    <a:lnTo>
                      <a:pt x="284" y="867"/>
                    </a:lnTo>
                    <a:lnTo>
                      <a:pt x="379" y="816"/>
                    </a:lnTo>
                    <a:lnTo>
                      <a:pt x="498" y="743"/>
                    </a:lnTo>
                    <a:lnTo>
                      <a:pt x="546" y="628"/>
                    </a:lnTo>
                    <a:lnTo>
                      <a:pt x="539" y="457"/>
                    </a:lnTo>
                    <a:lnTo>
                      <a:pt x="475" y="301"/>
                    </a:lnTo>
                    <a:lnTo>
                      <a:pt x="372" y="138"/>
                    </a:lnTo>
                    <a:lnTo>
                      <a:pt x="237" y="41"/>
                    </a:lnTo>
                    <a:lnTo>
                      <a:pt x="62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it-IT"/>
              </a:p>
            </p:txBody>
          </p:sp>
        </p:grpSp>
        <p:grpSp>
          <p:nvGrpSpPr>
            <p:cNvPr id="10" name="Group 25"/>
            <p:cNvGrpSpPr>
              <a:grpSpLocks/>
            </p:cNvGrpSpPr>
            <p:nvPr/>
          </p:nvGrpSpPr>
          <p:grpSpPr bwMode="auto">
            <a:xfrm>
              <a:off x="2632" y="12613"/>
              <a:ext cx="406" cy="1097"/>
              <a:chOff x="2632" y="12613"/>
              <a:chExt cx="406" cy="1097"/>
            </a:xfrm>
          </p:grpSpPr>
          <p:sp>
            <p:nvSpPr>
              <p:cNvPr id="27" name="Freeform 26"/>
              <p:cNvSpPr>
                <a:spLocks/>
              </p:cNvSpPr>
              <p:nvPr/>
            </p:nvSpPr>
            <p:spPr bwMode="auto">
              <a:xfrm>
                <a:off x="2632" y="12613"/>
                <a:ext cx="406" cy="1097"/>
              </a:xfrm>
              <a:custGeom>
                <a:avLst/>
                <a:gdLst>
                  <a:gd name="T0" fmla="+- 0 2965 2632"/>
                  <a:gd name="T1" fmla="*/ T0 w 406"/>
                  <a:gd name="T2" fmla="+- 0 12613 12613"/>
                  <a:gd name="T3" fmla="*/ 12613 h 1097"/>
                  <a:gd name="T4" fmla="+- 0 2886 2632"/>
                  <a:gd name="T5" fmla="*/ T4 w 406"/>
                  <a:gd name="T6" fmla="+- 0 12664 12613"/>
                  <a:gd name="T7" fmla="*/ 12664 h 1097"/>
                  <a:gd name="T8" fmla="+- 0 2814 2632"/>
                  <a:gd name="T9" fmla="*/ T8 w 406"/>
                  <a:gd name="T10" fmla="+- 0 12751 12613"/>
                  <a:gd name="T11" fmla="*/ 12751 h 1097"/>
                  <a:gd name="T12" fmla="+- 0 2726 2632"/>
                  <a:gd name="T13" fmla="*/ T12 w 406"/>
                  <a:gd name="T14" fmla="+- 0 12875 12613"/>
                  <a:gd name="T15" fmla="*/ 12875 h 1097"/>
                  <a:gd name="T16" fmla="+- 0 2654 2632"/>
                  <a:gd name="T17" fmla="*/ T16 w 406"/>
                  <a:gd name="T18" fmla="+- 0 13022 12613"/>
                  <a:gd name="T19" fmla="*/ 13022 h 1097"/>
                  <a:gd name="T20" fmla="+- 0 2632 2632"/>
                  <a:gd name="T21" fmla="*/ T20 w 406"/>
                  <a:gd name="T22" fmla="+- 0 13178 12613"/>
                  <a:gd name="T23" fmla="*/ 13178 h 1097"/>
                  <a:gd name="T24" fmla="+- 0 2632 2632"/>
                  <a:gd name="T25" fmla="*/ T24 w 406"/>
                  <a:gd name="T26" fmla="+- 0 13268 12613"/>
                  <a:gd name="T27" fmla="*/ 13268 h 1097"/>
                  <a:gd name="T28" fmla="+- 0 2719 2632"/>
                  <a:gd name="T29" fmla="*/ T28 w 406"/>
                  <a:gd name="T30" fmla="+- 0 13342 12613"/>
                  <a:gd name="T31" fmla="*/ 13342 h 1097"/>
                  <a:gd name="T32" fmla="+- 0 2821 2632"/>
                  <a:gd name="T33" fmla="*/ T32 w 406"/>
                  <a:gd name="T34" fmla="+- 0 13391 12613"/>
                  <a:gd name="T35" fmla="*/ 13391 h 1097"/>
                  <a:gd name="T36" fmla="+- 0 2910 2632"/>
                  <a:gd name="T37" fmla="*/ T36 w 406"/>
                  <a:gd name="T38" fmla="+- 0 13439 12613"/>
                  <a:gd name="T39" fmla="*/ 13439 h 1097"/>
                  <a:gd name="T40" fmla="+- 0 2863 2632"/>
                  <a:gd name="T41" fmla="*/ T40 w 406"/>
                  <a:gd name="T42" fmla="+- 0 13489 12613"/>
                  <a:gd name="T43" fmla="*/ 13489 h 1097"/>
                  <a:gd name="T44" fmla="+- 0 2838 2632"/>
                  <a:gd name="T45" fmla="*/ T44 w 406"/>
                  <a:gd name="T46" fmla="+- 0 13612 12613"/>
                  <a:gd name="T47" fmla="*/ 13612 h 1097"/>
                  <a:gd name="T48" fmla="+- 0 2838 2632"/>
                  <a:gd name="T49" fmla="*/ T48 w 406"/>
                  <a:gd name="T50" fmla="+- 0 13693 12613"/>
                  <a:gd name="T51" fmla="*/ 13693 h 1097"/>
                  <a:gd name="T52" fmla="+- 0 2886 2632"/>
                  <a:gd name="T53" fmla="*/ T52 w 406"/>
                  <a:gd name="T54" fmla="+- 0 13710 12613"/>
                  <a:gd name="T55" fmla="*/ 13710 h 1097"/>
                  <a:gd name="T56" fmla="+- 0 2910 2632"/>
                  <a:gd name="T57" fmla="*/ T56 w 406"/>
                  <a:gd name="T58" fmla="+- 0 13595 12613"/>
                  <a:gd name="T59" fmla="*/ 13595 h 1097"/>
                  <a:gd name="T60" fmla="+- 0 2933 2632"/>
                  <a:gd name="T61" fmla="*/ T60 w 406"/>
                  <a:gd name="T62" fmla="+- 0 13514 12613"/>
                  <a:gd name="T63" fmla="*/ 13514 h 1097"/>
                  <a:gd name="T64" fmla="+- 0 2988 2632"/>
                  <a:gd name="T65" fmla="*/ T64 w 406"/>
                  <a:gd name="T66" fmla="+- 0 13448 12613"/>
                  <a:gd name="T67" fmla="*/ 13448 h 1097"/>
                  <a:gd name="T68" fmla="+- 0 2981 2632"/>
                  <a:gd name="T69" fmla="*/ T68 w 406"/>
                  <a:gd name="T70" fmla="+- 0 13416 12613"/>
                  <a:gd name="T71" fmla="*/ 13416 h 1097"/>
                  <a:gd name="T72" fmla="+- 0 2941 2632"/>
                  <a:gd name="T73" fmla="*/ T72 w 406"/>
                  <a:gd name="T74" fmla="+- 0 13374 12613"/>
                  <a:gd name="T75" fmla="*/ 13374 h 1097"/>
                  <a:gd name="T76" fmla="+- 0 2846 2632"/>
                  <a:gd name="T77" fmla="*/ T76 w 406"/>
                  <a:gd name="T78" fmla="+- 0 13342 12613"/>
                  <a:gd name="T79" fmla="*/ 13342 h 1097"/>
                  <a:gd name="T80" fmla="+- 0 2743 2632"/>
                  <a:gd name="T81" fmla="*/ T80 w 406"/>
                  <a:gd name="T82" fmla="+- 0 13294 12613"/>
                  <a:gd name="T83" fmla="*/ 13294 h 1097"/>
                  <a:gd name="T84" fmla="+- 0 2719 2632"/>
                  <a:gd name="T85" fmla="*/ T84 w 406"/>
                  <a:gd name="T86" fmla="+- 0 13250 12613"/>
                  <a:gd name="T87" fmla="*/ 13250 h 1097"/>
                  <a:gd name="T88" fmla="+- 0 2704 2632"/>
                  <a:gd name="T89" fmla="*/ T88 w 406"/>
                  <a:gd name="T90" fmla="+- 0 13178 12613"/>
                  <a:gd name="T91" fmla="*/ 13178 h 1097"/>
                  <a:gd name="T92" fmla="+- 0 2726 2632"/>
                  <a:gd name="T93" fmla="*/ T92 w 406"/>
                  <a:gd name="T94" fmla="+- 0 13055 12613"/>
                  <a:gd name="T95" fmla="*/ 13055 h 1097"/>
                  <a:gd name="T96" fmla="+- 0 2821 2632"/>
                  <a:gd name="T97" fmla="*/ T96 w 406"/>
                  <a:gd name="T98" fmla="+- 0 12907 12613"/>
                  <a:gd name="T99" fmla="*/ 12907 h 1097"/>
                  <a:gd name="T100" fmla="+- 0 2910 2632"/>
                  <a:gd name="T101" fmla="*/ T100 w 406"/>
                  <a:gd name="T102" fmla="+- 0 12802 12613"/>
                  <a:gd name="T103" fmla="*/ 12802 h 1097"/>
                  <a:gd name="T104" fmla="+- 0 2981 2632"/>
                  <a:gd name="T105" fmla="*/ T104 w 406"/>
                  <a:gd name="T106" fmla="+- 0 12761 12613"/>
                  <a:gd name="T107" fmla="*/ 12761 h 1097"/>
                  <a:gd name="T108" fmla="+- 0 3030 2632"/>
                  <a:gd name="T109" fmla="*/ T108 w 406"/>
                  <a:gd name="T110" fmla="+- 0 12712 12613"/>
                  <a:gd name="T111" fmla="*/ 12712 h 1097"/>
                  <a:gd name="T112" fmla="+- 0 3037 2632"/>
                  <a:gd name="T113" fmla="*/ T112 w 406"/>
                  <a:gd name="T114" fmla="+- 0 12622 12613"/>
                  <a:gd name="T115" fmla="*/ 12622 h 1097"/>
                  <a:gd name="T116" fmla="+- 0 2965 2632"/>
                  <a:gd name="T117" fmla="*/ T116 w 406"/>
                  <a:gd name="T118" fmla="+- 0 12613 12613"/>
                  <a:gd name="T119" fmla="*/ 12613 h 1097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  <a:cxn ang="0">
                    <a:pos x="T17" y="T19"/>
                  </a:cxn>
                  <a:cxn ang="0">
                    <a:pos x="T21" y="T23"/>
                  </a:cxn>
                  <a:cxn ang="0">
                    <a:pos x="T25" y="T27"/>
                  </a:cxn>
                  <a:cxn ang="0">
                    <a:pos x="T29" y="T31"/>
                  </a:cxn>
                  <a:cxn ang="0">
                    <a:pos x="T33" y="T35"/>
                  </a:cxn>
                  <a:cxn ang="0">
                    <a:pos x="T37" y="T39"/>
                  </a:cxn>
                  <a:cxn ang="0">
                    <a:pos x="T41" y="T43"/>
                  </a:cxn>
                  <a:cxn ang="0">
                    <a:pos x="T45" y="T47"/>
                  </a:cxn>
                  <a:cxn ang="0">
                    <a:pos x="T49" y="T51"/>
                  </a:cxn>
                  <a:cxn ang="0">
                    <a:pos x="T53" y="T55"/>
                  </a:cxn>
                  <a:cxn ang="0">
                    <a:pos x="T57" y="T59"/>
                  </a:cxn>
                  <a:cxn ang="0">
                    <a:pos x="T61" y="T63"/>
                  </a:cxn>
                  <a:cxn ang="0">
                    <a:pos x="T65" y="T67"/>
                  </a:cxn>
                  <a:cxn ang="0">
                    <a:pos x="T69" y="T71"/>
                  </a:cxn>
                  <a:cxn ang="0">
                    <a:pos x="T73" y="T75"/>
                  </a:cxn>
                  <a:cxn ang="0">
                    <a:pos x="T77" y="T79"/>
                  </a:cxn>
                  <a:cxn ang="0">
                    <a:pos x="T81" y="T83"/>
                  </a:cxn>
                  <a:cxn ang="0">
                    <a:pos x="T85" y="T87"/>
                  </a:cxn>
                  <a:cxn ang="0">
                    <a:pos x="T89" y="T91"/>
                  </a:cxn>
                  <a:cxn ang="0">
                    <a:pos x="T93" y="T95"/>
                  </a:cxn>
                  <a:cxn ang="0">
                    <a:pos x="T97" y="T99"/>
                  </a:cxn>
                  <a:cxn ang="0">
                    <a:pos x="T101" y="T103"/>
                  </a:cxn>
                  <a:cxn ang="0">
                    <a:pos x="T105" y="T107"/>
                  </a:cxn>
                  <a:cxn ang="0">
                    <a:pos x="T109" y="T111"/>
                  </a:cxn>
                  <a:cxn ang="0">
                    <a:pos x="T113" y="T115"/>
                  </a:cxn>
                  <a:cxn ang="0">
                    <a:pos x="T117" y="T119"/>
                  </a:cxn>
                </a:cxnLst>
                <a:rect l="0" t="0" r="r" b="b"/>
                <a:pathLst>
                  <a:path w="406" h="1097">
                    <a:moveTo>
                      <a:pt x="333" y="0"/>
                    </a:moveTo>
                    <a:lnTo>
                      <a:pt x="254" y="51"/>
                    </a:lnTo>
                    <a:lnTo>
                      <a:pt x="182" y="138"/>
                    </a:lnTo>
                    <a:lnTo>
                      <a:pt x="94" y="262"/>
                    </a:lnTo>
                    <a:lnTo>
                      <a:pt x="22" y="409"/>
                    </a:lnTo>
                    <a:lnTo>
                      <a:pt x="0" y="565"/>
                    </a:lnTo>
                    <a:lnTo>
                      <a:pt x="0" y="655"/>
                    </a:lnTo>
                    <a:lnTo>
                      <a:pt x="87" y="729"/>
                    </a:lnTo>
                    <a:lnTo>
                      <a:pt x="189" y="778"/>
                    </a:lnTo>
                    <a:lnTo>
                      <a:pt x="278" y="826"/>
                    </a:lnTo>
                    <a:lnTo>
                      <a:pt x="231" y="876"/>
                    </a:lnTo>
                    <a:lnTo>
                      <a:pt x="206" y="999"/>
                    </a:lnTo>
                    <a:lnTo>
                      <a:pt x="206" y="1080"/>
                    </a:lnTo>
                    <a:lnTo>
                      <a:pt x="254" y="1097"/>
                    </a:lnTo>
                    <a:lnTo>
                      <a:pt x="278" y="982"/>
                    </a:lnTo>
                    <a:lnTo>
                      <a:pt x="301" y="901"/>
                    </a:lnTo>
                    <a:lnTo>
                      <a:pt x="356" y="835"/>
                    </a:lnTo>
                    <a:lnTo>
                      <a:pt x="349" y="803"/>
                    </a:lnTo>
                    <a:lnTo>
                      <a:pt x="309" y="761"/>
                    </a:lnTo>
                    <a:lnTo>
                      <a:pt x="214" y="729"/>
                    </a:lnTo>
                    <a:lnTo>
                      <a:pt x="111" y="681"/>
                    </a:lnTo>
                    <a:lnTo>
                      <a:pt x="87" y="637"/>
                    </a:lnTo>
                    <a:lnTo>
                      <a:pt x="72" y="565"/>
                    </a:lnTo>
                    <a:lnTo>
                      <a:pt x="94" y="442"/>
                    </a:lnTo>
                    <a:lnTo>
                      <a:pt x="189" y="294"/>
                    </a:lnTo>
                    <a:lnTo>
                      <a:pt x="278" y="189"/>
                    </a:lnTo>
                    <a:lnTo>
                      <a:pt x="349" y="148"/>
                    </a:lnTo>
                    <a:lnTo>
                      <a:pt x="398" y="99"/>
                    </a:lnTo>
                    <a:lnTo>
                      <a:pt x="405" y="9"/>
                    </a:lnTo>
                    <a:lnTo>
                      <a:pt x="333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it-IT"/>
              </a:p>
            </p:txBody>
          </p:sp>
        </p:grpSp>
        <p:grpSp>
          <p:nvGrpSpPr>
            <p:cNvPr id="11" name="Group 22"/>
            <p:cNvGrpSpPr>
              <a:grpSpLocks/>
            </p:cNvGrpSpPr>
            <p:nvPr/>
          </p:nvGrpSpPr>
          <p:grpSpPr bwMode="auto">
            <a:xfrm>
              <a:off x="3176" y="13578"/>
              <a:ext cx="479" cy="1307"/>
              <a:chOff x="3176" y="13578"/>
              <a:chExt cx="479" cy="1307"/>
            </a:xfrm>
          </p:grpSpPr>
          <p:sp>
            <p:nvSpPr>
              <p:cNvPr id="25" name="Freeform 24"/>
              <p:cNvSpPr>
                <a:spLocks/>
              </p:cNvSpPr>
              <p:nvPr/>
            </p:nvSpPr>
            <p:spPr bwMode="auto">
              <a:xfrm>
                <a:off x="3176" y="13578"/>
                <a:ext cx="479" cy="1307"/>
              </a:xfrm>
              <a:custGeom>
                <a:avLst/>
                <a:gdLst>
                  <a:gd name="T0" fmla="+- 0 3209 3176"/>
                  <a:gd name="T1" fmla="*/ T0 w 479"/>
                  <a:gd name="T2" fmla="+- 0 13578 13578"/>
                  <a:gd name="T3" fmla="*/ 13578 h 1307"/>
                  <a:gd name="T4" fmla="+- 0 3176 3176"/>
                  <a:gd name="T5" fmla="*/ T4 w 479"/>
                  <a:gd name="T6" fmla="+- 0 13668 13578"/>
                  <a:gd name="T7" fmla="*/ 13668 h 1307"/>
                  <a:gd name="T8" fmla="+- 0 3257 3176"/>
                  <a:gd name="T9" fmla="*/ T8 w 479"/>
                  <a:gd name="T10" fmla="+- 0 13741 13578"/>
                  <a:gd name="T11" fmla="*/ 13741 h 1307"/>
                  <a:gd name="T12" fmla="+- 0 3320 3176"/>
                  <a:gd name="T13" fmla="*/ T12 w 479"/>
                  <a:gd name="T14" fmla="+- 0 13919 13578"/>
                  <a:gd name="T15" fmla="*/ 13919 h 1307"/>
                  <a:gd name="T16" fmla="+- 0 3304 3176"/>
                  <a:gd name="T17" fmla="*/ T16 w 479"/>
                  <a:gd name="T18" fmla="+- 0 14212 13578"/>
                  <a:gd name="T19" fmla="*/ 14212 h 1307"/>
                  <a:gd name="T20" fmla="+- 0 3281 3176"/>
                  <a:gd name="T21" fmla="*/ T20 w 479"/>
                  <a:gd name="T22" fmla="+- 0 14471 13578"/>
                  <a:gd name="T23" fmla="*/ 14471 h 1307"/>
                  <a:gd name="T24" fmla="+- 0 3248 3176"/>
                  <a:gd name="T25" fmla="*/ T24 w 479"/>
                  <a:gd name="T26" fmla="+- 0 14689 13578"/>
                  <a:gd name="T27" fmla="*/ 14689 h 1307"/>
                  <a:gd name="T28" fmla="+- 0 3200 3176"/>
                  <a:gd name="T29" fmla="*/ T28 w 479"/>
                  <a:gd name="T30" fmla="+- 0 14795 13578"/>
                  <a:gd name="T31" fmla="*/ 14795 h 1307"/>
                  <a:gd name="T32" fmla="+- 0 3200 3176"/>
                  <a:gd name="T33" fmla="*/ T32 w 479"/>
                  <a:gd name="T34" fmla="+- 0 14869 13578"/>
                  <a:gd name="T35" fmla="*/ 14869 h 1307"/>
                  <a:gd name="T36" fmla="+- 0 3257 3176"/>
                  <a:gd name="T37" fmla="*/ T36 w 479"/>
                  <a:gd name="T38" fmla="+- 0 14885 13578"/>
                  <a:gd name="T39" fmla="*/ 14885 h 1307"/>
                  <a:gd name="T40" fmla="+- 0 3376 3176"/>
                  <a:gd name="T41" fmla="*/ T40 w 479"/>
                  <a:gd name="T42" fmla="+- 0 14820 13578"/>
                  <a:gd name="T43" fmla="*/ 14820 h 1307"/>
                  <a:gd name="T44" fmla="+- 0 3476 3176"/>
                  <a:gd name="T45" fmla="*/ T44 w 479"/>
                  <a:gd name="T46" fmla="+- 0 14764 13578"/>
                  <a:gd name="T47" fmla="*/ 14764 h 1307"/>
                  <a:gd name="T48" fmla="+- 0 3353 3176"/>
                  <a:gd name="T49" fmla="*/ T48 w 479"/>
                  <a:gd name="T50" fmla="+- 0 14764 13578"/>
                  <a:gd name="T51" fmla="*/ 14764 h 1307"/>
                  <a:gd name="T52" fmla="+- 0 3304 3176"/>
                  <a:gd name="T53" fmla="*/ T52 w 479"/>
                  <a:gd name="T54" fmla="+- 0 14740 13578"/>
                  <a:gd name="T55" fmla="*/ 14740 h 1307"/>
                  <a:gd name="T56" fmla="+- 0 3329 3176"/>
                  <a:gd name="T57" fmla="*/ T56 w 479"/>
                  <a:gd name="T58" fmla="+- 0 14616 13578"/>
                  <a:gd name="T59" fmla="*/ 14616 h 1307"/>
                  <a:gd name="T60" fmla="+- 0 3376 3176"/>
                  <a:gd name="T61" fmla="*/ T60 w 479"/>
                  <a:gd name="T62" fmla="+- 0 14332 13578"/>
                  <a:gd name="T63" fmla="*/ 14332 h 1307"/>
                  <a:gd name="T64" fmla="+- 0 3391 3176"/>
                  <a:gd name="T65" fmla="*/ T64 w 479"/>
                  <a:gd name="T66" fmla="+- 0 13967 13578"/>
                  <a:gd name="T67" fmla="*/ 13967 h 1307"/>
                  <a:gd name="T68" fmla="+- 0 3376 3176"/>
                  <a:gd name="T69" fmla="*/ T68 w 479"/>
                  <a:gd name="T70" fmla="+- 0 13748 13578"/>
                  <a:gd name="T71" fmla="*/ 13748 h 1307"/>
                  <a:gd name="T72" fmla="+- 0 3320 3176"/>
                  <a:gd name="T73" fmla="*/ T72 w 479"/>
                  <a:gd name="T74" fmla="+- 0 13626 13578"/>
                  <a:gd name="T75" fmla="*/ 13626 h 1307"/>
                  <a:gd name="T76" fmla="+- 0 3209 3176"/>
                  <a:gd name="T77" fmla="*/ T76 w 479"/>
                  <a:gd name="T78" fmla="+- 0 13578 13578"/>
                  <a:gd name="T79" fmla="*/ 13578 h 1307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  <a:cxn ang="0">
                    <a:pos x="T17" y="T19"/>
                  </a:cxn>
                  <a:cxn ang="0">
                    <a:pos x="T21" y="T23"/>
                  </a:cxn>
                  <a:cxn ang="0">
                    <a:pos x="T25" y="T27"/>
                  </a:cxn>
                  <a:cxn ang="0">
                    <a:pos x="T29" y="T31"/>
                  </a:cxn>
                  <a:cxn ang="0">
                    <a:pos x="T33" y="T35"/>
                  </a:cxn>
                  <a:cxn ang="0">
                    <a:pos x="T37" y="T39"/>
                  </a:cxn>
                  <a:cxn ang="0">
                    <a:pos x="T41" y="T43"/>
                  </a:cxn>
                  <a:cxn ang="0">
                    <a:pos x="T45" y="T47"/>
                  </a:cxn>
                  <a:cxn ang="0">
                    <a:pos x="T49" y="T51"/>
                  </a:cxn>
                  <a:cxn ang="0">
                    <a:pos x="T53" y="T55"/>
                  </a:cxn>
                  <a:cxn ang="0">
                    <a:pos x="T57" y="T59"/>
                  </a:cxn>
                  <a:cxn ang="0">
                    <a:pos x="T61" y="T63"/>
                  </a:cxn>
                  <a:cxn ang="0">
                    <a:pos x="T65" y="T67"/>
                  </a:cxn>
                  <a:cxn ang="0">
                    <a:pos x="T69" y="T71"/>
                  </a:cxn>
                  <a:cxn ang="0">
                    <a:pos x="T73" y="T75"/>
                  </a:cxn>
                  <a:cxn ang="0">
                    <a:pos x="T77" y="T79"/>
                  </a:cxn>
                </a:cxnLst>
                <a:rect l="0" t="0" r="r" b="b"/>
                <a:pathLst>
                  <a:path w="479" h="1307">
                    <a:moveTo>
                      <a:pt x="33" y="0"/>
                    </a:moveTo>
                    <a:lnTo>
                      <a:pt x="0" y="90"/>
                    </a:lnTo>
                    <a:lnTo>
                      <a:pt x="81" y="163"/>
                    </a:lnTo>
                    <a:lnTo>
                      <a:pt x="144" y="341"/>
                    </a:lnTo>
                    <a:lnTo>
                      <a:pt x="128" y="634"/>
                    </a:lnTo>
                    <a:lnTo>
                      <a:pt x="105" y="893"/>
                    </a:lnTo>
                    <a:lnTo>
                      <a:pt x="72" y="1111"/>
                    </a:lnTo>
                    <a:lnTo>
                      <a:pt x="24" y="1217"/>
                    </a:lnTo>
                    <a:lnTo>
                      <a:pt x="24" y="1291"/>
                    </a:lnTo>
                    <a:lnTo>
                      <a:pt x="81" y="1307"/>
                    </a:lnTo>
                    <a:lnTo>
                      <a:pt x="200" y="1242"/>
                    </a:lnTo>
                    <a:lnTo>
                      <a:pt x="300" y="1186"/>
                    </a:lnTo>
                    <a:lnTo>
                      <a:pt x="177" y="1186"/>
                    </a:lnTo>
                    <a:lnTo>
                      <a:pt x="128" y="1162"/>
                    </a:lnTo>
                    <a:lnTo>
                      <a:pt x="153" y="1038"/>
                    </a:lnTo>
                    <a:lnTo>
                      <a:pt x="200" y="754"/>
                    </a:lnTo>
                    <a:lnTo>
                      <a:pt x="215" y="389"/>
                    </a:lnTo>
                    <a:lnTo>
                      <a:pt x="200" y="170"/>
                    </a:lnTo>
                    <a:lnTo>
                      <a:pt x="144" y="48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it-IT"/>
              </a:p>
            </p:txBody>
          </p:sp>
          <p:sp>
            <p:nvSpPr>
              <p:cNvPr id="26" name="Freeform 23"/>
              <p:cNvSpPr>
                <a:spLocks/>
              </p:cNvSpPr>
              <p:nvPr/>
            </p:nvSpPr>
            <p:spPr bwMode="auto">
              <a:xfrm>
                <a:off x="3176" y="13578"/>
                <a:ext cx="479" cy="1307"/>
              </a:xfrm>
              <a:custGeom>
                <a:avLst/>
                <a:gdLst>
                  <a:gd name="T0" fmla="+- 0 3560 3176"/>
                  <a:gd name="T1" fmla="*/ T0 w 479"/>
                  <a:gd name="T2" fmla="+- 0 14593 13578"/>
                  <a:gd name="T3" fmla="*/ 14593 h 1307"/>
                  <a:gd name="T4" fmla="+- 0 3448 3176"/>
                  <a:gd name="T5" fmla="*/ T4 w 479"/>
                  <a:gd name="T6" fmla="+- 0 14666 13578"/>
                  <a:gd name="T7" fmla="*/ 14666 h 1307"/>
                  <a:gd name="T8" fmla="+- 0 3353 3176"/>
                  <a:gd name="T9" fmla="*/ T8 w 479"/>
                  <a:gd name="T10" fmla="+- 0 14764 13578"/>
                  <a:gd name="T11" fmla="*/ 14764 h 1307"/>
                  <a:gd name="T12" fmla="+- 0 3476 3176"/>
                  <a:gd name="T13" fmla="*/ T12 w 479"/>
                  <a:gd name="T14" fmla="+- 0 14764 13578"/>
                  <a:gd name="T15" fmla="*/ 14764 h 1307"/>
                  <a:gd name="T16" fmla="+- 0 3518 3176"/>
                  <a:gd name="T17" fmla="*/ T16 w 479"/>
                  <a:gd name="T18" fmla="+- 0 14740 13578"/>
                  <a:gd name="T19" fmla="*/ 14740 h 1307"/>
                  <a:gd name="T20" fmla="+- 0 3655 3176"/>
                  <a:gd name="T21" fmla="*/ T20 w 479"/>
                  <a:gd name="T22" fmla="+- 0 14674 13578"/>
                  <a:gd name="T23" fmla="*/ 14674 h 1307"/>
                  <a:gd name="T24" fmla="+- 0 3655 3176"/>
                  <a:gd name="T25" fmla="*/ T24 w 479"/>
                  <a:gd name="T26" fmla="+- 0 14648 13578"/>
                  <a:gd name="T27" fmla="*/ 14648 h 1307"/>
                  <a:gd name="T28" fmla="+- 0 3590 3176"/>
                  <a:gd name="T29" fmla="*/ T28 w 479"/>
                  <a:gd name="T30" fmla="+- 0 14600 13578"/>
                  <a:gd name="T31" fmla="*/ 14600 h 1307"/>
                  <a:gd name="T32" fmla="+- 0 3560 3176"/>
                  <a:gd name="T33" fmla="*/ T32 w 479"/>
                  <a:gd name="T34" fmla="+- 0 14593 13578"/>
                  <a:gd name="T35" fmla="*/ 14593 h 1307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  <a:cxn ang="0">
                    <a:pos x="T17" y="T19"/>
                  </a:cxn>
                  <a:cxn ang="0">
                    <a:pos x="T21" y="T23"/>
                  </a:cxn>
                  <a:cxn ang="0">
                    <a:pos x="T25" y="T27"/>
                  </a:cxn>
                  <a:cxn ang="0">
                    <a:pos x="T29" y="T31"/>
                  </a:cxn>
                  <a:cxn ang="0">
                    <a:pos x="T33" y="T35"/>
                  </a:cxn>
                </a:cxnLst>
                <a:rect l="0" t="0" r="r" b="b"/>
                <a:pathLst>
                  <a:path w="479" h="1307">
                    <a:moveTo>
                      <a:pt x="384" y="1015"/>
                    </a:moveTo>
                    <a:lnTo>
                      <a:pt x="272" y="1088"/>
                    </a:lnTo>
                    <a:lnTo>
                      <a:pt x="177" y="1186"/>
                    </a:lnTo>
                    <a:lnTo>
                      <a:pt x="300" y="1186"/>
                    </a:lnTo>
                    <a:lnTo>
                      <a:pt x="342" y="1162"/>
                    </a:lnTo>
                    <a:lnTo>
                      <a:pt x="479" y="1096"/>
                    </a:lnTo>
                    <a:lnTo>
                      <a:pt x="479" y="1070"/>
                    </a:lnTo>
                    <a:lnTo>
                      <a:pt x="414" y="1022"/>
                    </a:lnTo>
                    <a:lnTo>
                      <a:pt x="384" y="101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it-IT"/>
              </a:p>
            </p:txBody>
          </p:sp>
        </p:grpSp>
        <p:grpSp>
          <p:nvGrpSpPr>
            <p:cNvPr id="12" name="Group 19"/>
            <p:cNvGrpSpPr>
              <a:grpSpLocks/>
            </p:cNvGrpSpPr>
            <p:nvPr/>
          </p:nvGrpSpPr>
          <p:grpSpPr bwMode="auto">
            <a:xfrm>
              <a:off x="2836" y="13445"/>
              <a:ext cx="368" cy="1434"/>
              <a:chOff x="2836" y="13445"/>
              <a:chExt cx="368" cy="1434"/>
            </a:xfrm>
          </p:grpSpPr>
          <p:sp>
            <p:nvSpPr>
              <p:cNvPr id="23" name="Freeform 21"/>
              <p:cNvSpPr>
                <a:spLocks/>
              </p:cNvSpPr>
              <p:nvPr/>
            </p:nvSpPr>
            <p:spPr bwMode="auto">
              <a:xfrm>
                <a:off x="2836" y="13445"/>
                <a:ext cx="368" cy="1434"/>
              </a:xfrm>
              <a:custGeom>
                <a:avLst/>
                <a:gdLst>
                  <a:gd name="T0" fmla="+- 0 3172 2836"/>
                  <a:gd name="T1" fmla="*/ T0 w 368"/>
                  <a:gd name="T2" fmla="+- 0 13445 13445"/>
                  <a:gd name="T3" fmla="*/ 13445 h 1434"/>
                  <a:gd name="T4" fmla="+- 0 3082 2836"/>
                  <a:gd name="T5" fmla="*/ T4 w 368"/>
                  <a:gd name="T6" fmla="+- 0 13510 13445"/>
                  <a:gd name="T7" fmla="*/ 13510 h 1434"/>
                  <a:gd name="T8" fmla="+- 0 2983 2836"/>
                  <a:gd name="T9" fmla="*/ T8 w 368"/>
                  <a:gd name="T10" fmla="+- 0 13729 13445"/>
                  <a:gd name="T11" fmla="*/ 13729 h 1434"/>
                  <a:gd name="T12" fmla="+- 0 2910 2836"/>
                  <a:gd name="T13" fmla="*/ T12 w 368"/>
                  <a:gd name="T14" fmla="+- 0 13876 13445"/>
                  <a:gd name="T15" fmla="*/ 13876 h 1434"/>
                  <a:gd name="T16" fmla="+- 0 2878 2836"/>
                  <a:gd name="T17" fmla="*/ T16 w 368"/>
                  <a:gd name="T18" fmla="+- 0 14101 13445"/>
                  <a:gd name="T19" fmla="*/ 14101 h 1434"/>
                  <a:gd name="T20" fmla="+- 0 2852 2836"/>
                  <a:gd name="T21" fmla="*/ T20 w 368"/>
                  <a:gd name="T22" fmla="+- 0 14417 13445"/>
                  <a:gd name="T23" fmla="*/ 14417 h 1434"/>
                  <a:gd name="T24" fmla="+- 0 2836 2836"/>
                  <a:gd name="T25" fmla="*/ T24 w 368"/>
                  <a:gd name="T26" fmla="+- 0 14725 13445"/>
                  <a:gd name="T27" fmla="*/ 14725 h 1434"/>
                  <a:gd name="T28" fmla="+- 0 2836 2836"/>
                  <a:gd name="T29" fmla="*/ T28 w 368"/>
                  <a:gd name="T30" fmla="+- 0 14831 13445"/>
                  <a:gd name="T31" fmla="*/ 14831 h 1434"/>
                  <a:gd name="T32" fmla="+- 0 2861 2836"/>
                  <a:gd name="T33" fmla="*/ T32 w 368"/>
                  <a:gd name="T34" fmla="+- 0 14879 13445"/>
                  <a:gd name="T35" fmla="*/ 14879 h 1434"/>
                  <a:gd name="T36" fmla="+- 0 2910 2836"/>
                  <a:gd name="T37" fmla="*/ T36 w 368"/>
                  <a:gd name="T38" fmla="+- 0 14879 13445"/>
                  <a:gd name="T39" fmla="*/ 14879 h 1434"/>
                  <a:gd name="T40" fmla="+- 0 3008 2836"/>
                  <a:gd name="T41" fmla="*/ T40 w 368"/>
                  <a:gd name="T42" fmla="+- 0 14759 13445"/>
                  <a:gd name="T43" fmla="*/ 14759 h 1434"/>
                  <a:gd name="T44" fmla="+- 0 3016 2836"/>
                  <a:gd name="T45" fmla="*/ T44 w 368"/>
                  <a:gd name="T46" fmla="+- 0 14749 13445"/>
                  <a:gd name="T47" fmla="*/ 14749 h 1434"/>
                  <a:gd name="T48" fmla="+- 0 2926 2836"/>
                  <a:gd name="T49" fmla="*/ T48 w 368"/>
                  <a:gd name="T50" fmla="+- 0 14749 13445"/>
                  <a:gd name="T51" fmla="*/ 14749 h 1434"/>
                  <a:gd name="T52" fmla="+- 0 2926 2836"/>
                  <a:gd name="T53" fmla="*/ T52 w 368"/>
                  <a:gd name="T54" fmla="+- 0 14490 13445"/>
                  <a:gd name="T55" fmla="*/ 14490 h 1434"/>
                  <a:gd name="T56" fmla="+- 0 2958 2836"/>
                  <a:gd name="T57" fmla="*/ T56 w 368"/>
                  <a:gd name="T58" fmla="+- 0 14190 13445"/>
                  <a:gd name="T59" fmla="*/ 14190 h 1434"/>
                  <a:gd name="T60" fmla="+- 0 3008 2836"/>
                  <a:gd name="T61" fmla="*/ T60 w 368"/>
                  <a:gd name="T62" fmla="+- 0 13924 13445"/>
                  <a:gd name="T63" fmla="*/ 13924 h 1434"/>
                  <a:gd name="T64" fmla="+- 0 3082 2836"/>
                  <a:gd name="T65" fmla="*/ T64 w 368"/>
                  <a:gd name="T66" fmla="+- 0 13736 13445"/>
                  <a:gd name="T67" fmla="*/ 13736 h 1434"/>
                  <a:gd name="T68" fmla="+- 0 3179 2836"/>
                  <a:gd name="T69" fmla="*/ T68 w 368"/>
                  <a:gd name="T70" fmla="+- 0 13558 13445"/>
                  <a:gd name="T71" fmla="*/ 13558 h 1434"/>
                  <a:gd name="T72" fmla="+- 0 3204 2836"/>
                  <a:gd name="T73" fmla="*/ T72 w 368"/>
                  <a:gd name="T74" fmla="+- 0 13486 13445"/>
                  <a:gd name="T75" fmla="*/ 13486 h 1434"/>
                  <a:gd name="T76" fmla="+- 0 3172 2836"/>
                  <a:gd name="T77" fmla="*/ T76 w 368"/>
                  <a:gd name="T78" fmla="+- 0 13445 13445"/>
                  <a:gd name="T79" fmla="*/ 13445 h 1434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  <a:cxn ang="0">
                    <a:pos x="T17" y="T19"/>
                  </a:cxn>
                  <a:cxn ang="0">
                    <a:pos x="T21" y="T23"/>
                  </a:cxn>
                  <a:cxn ang="0">
                    <a:pos x="T25" y="T27"/>
                  </a:cxn>
                  <a:cxn ang="0">
                    <a:pos x="T29" y="T31"/>
                  </a:cxn>
                  <a:cxn ang="0">
                    <a:pos x="T33" y="T35"/>
                  </a:cxn>
                  <a:cxn ang="0">
                    <a:pos x="T37" y="T39"/>
                  </a:cxn>
                  <a:cxn ang="0">
                    <a:pos x="T41" y="T43"/>
                  </a:cxn>
                  <a:cxn ang="0">
                    <a:pos x="T45" y="T47"/>
                  </a:cxn>
                  <a:cxn ang="0">
                    <a:pos x="T49" y="T51"/>
                  </a:cxn>
                  <a:cxn ang="0">
                    <a:pos x="T53" y="T55"/>
                  </a:cxn>
                  <a:cxn ang="0">
                    <a:pos x="T57" y="T59"/>
                  </a:cxn>
                  <a:cxn ang="0">
                    <a:pos x="T61" y="T63"/>
                  </a:cxn>
                  <a:cxn ang="0">
                    <a:pos x="T65" y="T67"/>
                  </a:cxn>
                  <a:cxn ang="0">
                    <a:pos x="T69" y="T71"/>
                  </a:cxn>
                  <a:cxn ang="0">
                    <a:pos x="T73" y="T75"/>
                  </a:cxn>
                  <a:cxn ang="0">
                    <a:pos x="T77" y="T79"/>
                  </a:cxn>
                </a:cxnLst>
                <a:rect l="0" t="0" r="r" b="b"/>
                <a:pathLst>
                  <a:path w="368" h="1434">
                    <a:moveTo>
                      <a:pt x="336" y="0"/>
                    </a:moveTo>
                    <a:lnTo>
                      <a:pt x="246" y="65"/>
                    </a:lnTo>
                    <a:lnTo>
                      <a:pt x="147" y="284"/>
                    </a:lnTo>
                    <a:lnTo>
                      <a:pt x="74" y="431"/>
                    </a:lnTo>
                    <a:lnTo>
                      <a:pt x="42" y="656"/>
                    </a:lnTo>
                    <a:lnTo>
                      <a:pt x="16" y="972"/>
                    </a:lnTo>
                    <a:lnTo>
                      <a:pt x="0" y="1280"/>
                    </a:lnTo>
                    <a:lnTo>
                      <a:pt x="0" y="1386"/>
                    </a:lnTo>
                    <a:lnTo>
                      <a:pt x="25" y="1434"/>
                    </a:lnTo>
                    <a:lnTo>
                      <a:pt x="74" y="1434"/>
                    </a:lnTo>
                    <a:lnTo>
                      <a:pt x="172" y="1314"/>
                    </a:lnTo>
                    <a:lnTo>
                      <a:pt x="180" y="1304"/>
                    </a:lnTo>
                    <a:lnTo>
                      <a:pt x="90" y="1304"/>
                    </a:lnTo>
                    <a:lnTo>
                      <a:pt x="90" y="1045"/>
                    </a:lnTo>
                    <a:lnTo>
                      <a:pt x="122" y="745"/>
                    </a:lnTo>
                    <a:lnTo>
                      <a:pt x="172" y="479"/>
                    </a:lnTo>
                    <a:lnTo>
                      <a:pt x="246" y="291"/>
                    </a:lnTo>
                    <a:lnTo>
                      <a:pt x="343" y="113"/>
                    </a:lnTo>
                    <a:lnTo>
                      <a:pt x="368" y="41"/>
                    </a:lnTo>
                    <a:lnTo>
                      <a:pt x="33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it-IT"/>
              </a:p>
            </p:txBody>
          </p:sp>
          <p:sp>
            <p:nvSpPr>
              <p:cNvPr id="24" name="Freeform 20"/>
              <p:cNvSpPr>
                <a:spLocks/>
              </p:cNvSpPr>
              <p:nvPr/>
            </p:nvSpPr>
            <p:spPr bwMode="auto">
              <a:xfrm>
                <a:off x="2836" y="13445"/>
                <a:ext cx="368" cy="1434"/>
              </a:xfrm>
              <a:custGeom>
                <a:avLst/>
                <a:gdLst>
                  <a:gd name="T0" fmla="+- 0 3082 2836"/>
                  <a:gd name="T1" fmla="*/ T0 w 368"/>
                  <a:gd name="T2" fmla="+- 0 14482 13445"/>
                  <a:gd name="T3" fmla="*/ 14482 h 1434"/>
                  <a:gd name="T4" fmla="+- 0 3031 2836"/>
                  <a:gd name="T5" fmla="*/ T4 w 368"/>
                  <a:gd name="T6" fmla="+- 0 14482 13445"/>
                  <a:gd name="T7" fmla="*/ 14482 h 1434"/>
                  <a:gd name="T8" fmla="+- 0 3008 2836"/>
                  <a:gd name="T9" fmla="*/ T8 w 368"/>
                  <a:gd name="T10" fmla="+- 0 14628 13445"/>
                  <a:gd name="T11" fmla="*/ 14628 h 1434"/>
                  <a:gd name="T12" fmla="+- 0 2951 2836"/>
                  <a:gd name="T13" fmla="*/ T12 w 368"/>
                  <a:gd name="T14" fmla="+- 0 14725 13445"/>
                  <a:gd name="T15" fmla="*/ 14725 h 1434"/>
                  <a:gd name="T16" fmla="+- 0 2926 2836"/>
                  <a:gd name="T17" fmla="*/ T16 w 368"/>
                  <a:gd name="T18" fmla="+- 0 14749 13445"/>
                  <a:gd name="T19" fmla="*/ 14749 h 1434"/>
                  <a:gd name="T20" fmla="+- 0 3016 2836"/>
                  <a:gd name="T21" fmla="*/ T20 w 368"/>
                  <a:gd name="T22" fmla="+- 0 14749 13445"/>
                  <a:gd name="T23" fmla="*/ 14749 h 1434"/>
                  <a:gd name="T24" fmla="+- 0 3104 2836"/>
                  <a:gd name="T25" fmla="*/ T24 w 368"/>
                  <a:gd name="T26" fmla="+- 0 14635 13445"/>
                  <a:gd name="T27" fmla="*/ 14635 h 1434"/>
                  <a:gd name="T28" fmla="+- 0 3146 2836"/>
                  <a:gd name="T29" fmla="*/ T28 w 368"/>
                  <a:gd name="T30" fmla="+- 0 14514 13445"/>
                  <a:gd name="T31" fmla="*/ 14514 h 1434"/>
                  <a:gd name="T32" fmla="+- 0 3082 2836"/>
                  <a:gd name="T33" fmla="*/ T32 w 368"/>
                  <a:gd name="T34" fmla="+- 0 14482 13445"/>
                  <a:gd name="T35" fmla="*/ 14482 h 1434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  <a:cxn ang="0">
                    <a:pos x="T17" y="T19"/>
                  </a:cxn>
                  <a:cxn ang="0">
                    <a:pos x="T21" y="T23"/>
                  </a:cxn>
                  <a:cxn ang="0">
                    <a:pos x="T25" y="T27"/>
                  </a:cxn>
                  <a:cxn ang="0">
                    <a:pos x="T29" y="T31"/>
                  </a:cxn>
                  <a:cxn ang="0">
                    <a:pos x="T33" y="T35"/>
                  </a:cxn>
                </a:cxnLst>
                <a:rect l="0" t="0" r="r" b="b"/>
                <a:pathLst>
                  <a:path w="368" h="1434">
                    <a:moveTo>
                      <a:pt x="246" y="1037"/>
                    </a:moveTo>
                    <a:lnTo>
                      <a:pt x="195" y="1037"/>
                    </a:lnTo>
                    <a:lnTo>
                      <a:pt x="172" y="1183"/>
                    </a:lnTo>
                    <a:lnTo>
                      <a:pt x="115" y="1280"/>
                    </a:lnTo>
                    <a:lnTo>
                      <a:pt x="90" y="1304"/>
                    </a:lnTo>
                    <a:lnTo>
                      <a:pt x="180" y="1304"/>
                    </a:lnTo>
                    <a:lnTo>
                      <a:pt x="268" y="1190"/>
                    </a:lnTo>
                    <a:lnTo>
                      <a:pt x="310" y="1069"/>
                    </a:lnTo>
                    <a:lnTo>
                      <a:pt x="246" y="103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it-IT"/>
              </a:p>
            </p:txBody>
          </p:sp>
        </p:grpSp>
        <p:grpSp>
          <p:nvGrpSpPr>
            <p:cNvPr id="13" name="Group 17"/>
            <p:cNvGrpSpPr>
              <a:grpSpLocks/>
            </p:cNvGrpSpPr>
            <p:nvPr/>
          </p:nvGrpSpPr>
          <p:grpSpPr bwMode="auto">
            <a:xfrm>
              <a:off x="3520" y="11122"/>
              <a:ext cx="2014" cy="2040"/>
              <a:chOff x="3520" y="11122"/>
              <a:chExt cx="2014" cy="2040"/>
            </a:xfrm>
          </p:grpSpPr>
          <p:sp>
            <p:nvSpPr>
              <p:cNvPr id="22" name="Freeform 18"/>
              <p:cNvSpPr>
                <a:spLocks/>
              </p:cNvSpPr>
              <p:nvPr/>
            </p:nvSpPr>
            <p:spPr bwMode="auto">
              <a:xfrm>
                <a:off x="3520" y="11122"/>
                <a:ext cx="2014" cy="2040"/>
              </a:xfrm>
              <a:custGeom>
                <a:avLst/>
                <a:gdLst>
                  <a:gd name="T0" fmla="+- 0 4444 3520"/>
                  <a:gd name="T1" fmla="*/ T0 w 2014"/>
                  <a:gd name="T2" fmla="+- 0 11125 11122"/>
                  <a:gd name="T3" fmla="*/ 11125 h 2040"/>
                  <a:gd name="T4" fmla="+- 0 4285 3520"/>
                  <a:gd name="T5" fmla="*/ T4 w 2014"/>
                  <a:gd name="T6" fmla="+- 0 11151 11122"/>
                  <a:gd name="T7" fmla="*/ 11151 h 2040"/>
                  <a:gd name="T8" fmla="+- 0 4135 3520"/>
                  <a:gd name="T9" fmla="*/ T8 w 2014"/>
                  <a:gd name="T10" fmla="+- 0 11202 11122"/>
                  <a:gd name="T11" fmla="*/ 11202 h 2040"/>
                  <a:gd name="T12" fmla="+- 0 3996 3520"/>
                  <a:gd name="T13" fmla="*/ T12 w 2014"/>
                  <a:gd name="T14" fmla="+- 0 11275 11122"/>
                  <a:gd name="T15" fmla="*/ 11275 h 2040"/>
                  <a:gd name="T16" fmla="+- 0 3871 3520"/>
                  <a:gd name="T17" fmla="*/ T16 w 2014"/>
                  <a:gd name="T18" fmla="+- 0 11367 11122"/>
                  <a:gd name="T19" fmla="*/ 11367 h 2040"/>
                  <a:gd name="T20" fmla="+- 0 3762 3520"/>
                  <a:gd name="T21" fmla="*/ T20 w 2014"/>
                  <a:gd name="T22" fmla="+- 0 11478 11122"/>
                  <a:gd name="T23" fmla="*/ 11478 h 2040"/>
                  <a:gd name="T24" fmla="+- 0 3671 3520"/>
                  <a:gd name="T25" fmla="*/ T24 w 2014"/>
                  <a:gd name="T26" fmla="+- 0 11605 11122"/>
                  <a:gd name="T27" fmla="*/ 11605 h 2040"/>
                  <a:gd name="T28" fmla="+- 0 3599 3520"/>
                  <a:gd name="T29" fmla="*/ T28 w 2014"/>
                  <a:gd name="T30" fmla="+- 0 11745 11122"/>
                  <a:gd name="T31" fmla="*/ 11745 h 2040"/>
                  <a:gd name="T32" fmla="+- 0 3549 3520"/>
                  <a:gd name="T33" fmla="*/ T32 w 2014"/>
                  <a:gd name="T34" fmla="+- 0 11897 11122"/>
                  <a:gd name="T35" fmla="*/ 11897 h 2040"/>
                  <a:gd name="T36" fmla="+- 0 3523 3520"/>
                  <a:gd name="T37" fmla="*/ T36 w 2014"/>
                  <a:gd name="T38" fmla="+- 0 12058 11122"/>
                  <a:gd name="T39" fmla="*/ 12058 h 2040"/>
                  <a:gd name="T40" fmla="+- 0 3523 3520"/>
                  <a:gd name="T41" fmla="*/ T40 w 2014"/>
                  <a:gd name="T42" fmla="+- 0 12225 11122"/>
                  <a:gd name="T43" fmla="*/ 12225 h 2040"/>
                  <a:gd name="T44" fmla="+- 0 3549 3520"/>
                  <a:gd name="T45" fmla="*/ T44 w 2014"/>
                  <a:gd name="T46" fmla="+- 0 12387 11122"/>
                  <a:gd name="T47" fmla="*/ 12387 h 2040"/>
                  <a:gd name="T48" fmla="+- 0 3599 3520"/>
                  <a:gd name="T49" fmla="*/ T48 w 2014"/>
                  <a:gd name="T50" fmla="+- 0 12538 11122"/>
                  <a:gd name="T51" fmla="*/ 12538 h 2040"/>
                  <a:gd name="T52" fmla="+- 0 3671 3520"/>
                  <a:gd name="T53" fmla="*/ T52 w 2014"/>
                  <a:gd name="T54" fmla="+- 0 12679 11122"/>
                  <a:gd name="T55" fmla="*/ 12679 h 2040"/>
                  <a:gd name="T56" fmla="+- 0 3762 3520"/>
                  <a:gd name="T57" fmla="*/ T56 w 2014"/>
                  <a:gd name="T58" fmla="+- 0 12805 11122"/>
                  <a:gd name="T59" fmla="*/ 12805 h 2040"/>
                  <a:gd name="T60" fmla="+- 0 3871 3520"/>
                  <a:gd name="T61" fmla="*/ T60 w 2014"/>
                  <a:gd name="T62" fmla="+- 0 12916 11122"/>
                  <a:gd name="T63" fmla="*/ 12916 h 2040"/>
                  <a:gd name="T64" fmla="+- 0 3996 3520"/>
                  <a:gd name="T65" fmla="*/ T64 w 2014"/>
                  <a:gd name="T66" fmla="+- 0 13009 11122"/>
                  <a:gd name="T67" fmla="*/ 13009 h 2040"/>
                  <a:gd name="T68" fmla="+- 0 4135 3520"/>
                  <a:gd name="T69" fmla="*/ T68 w 2014"/>
                  <a:gd name="T70" fmla="+- 0 13081 11122"/>
                  <a:gd name="T71" fmla="*/ 13081 h 2040"/>
                  <a:gd name="T72" fmla="+- 0 4285 3520"/>
                  <a:gd name="T73" fmla="*/ T72 w 2014"/>
                  <a:gd name="T74" fmla="+- 0 13132 11122"/>
                  <a:gd name="T75" fmla="*/ 13132 h 2040"/>
                  <a:gd name="T76" fmla="+- 0 4444 3520"/>
                  <a:gd name="T77" fmla="*/ T76 w 2014"/>
                  <a:gd name="T78" fmla="+- 0 13158 11122"/>
                  <a:gd name="T79" fmla="*/ 13158 h 2040"/>
                  <a:gd name="T80" fmla="+- 0 4609 3520"/>
                  <a:gd name="T81" fmla="*/ T80 w 2014"/>
                  <a:gd name="T82" fmla="+- 0 13158 11122"/>
                  <a:gd name="T83" fmla="*/ 13158 h 2040"/>
                  <a:gd name="T84" fmla="+- 0 4768 3520"/>
                  <a:gd name="T85" fmla="*/ T84 w 2014"/>
                  <a:gd name="T86" fmla="+- 0 13132 11122"/>
                  <a:gd name="T87" fmla="*/ 13132 h 2040"/>
                  <a:gd name="T88" fmla="+- 0 4918 3520"/>
                  <a:gd name="T89" fmla="*/ T88 w 2014"/>
                  <a:gd name="T90" fmla="+- 0 13081 11122"/>
                  <a:gd name="T91" fmla="*/ 13081 h 2040"/>
                  <a:gd name="T92" fmla="+- 0 5057 3520"/>
                  <a:gd name="T93" fmla="*/ T92 w 2014"/>
                  <a:gd name="T94" fmla="+- 0 13009 11122"/>
                  <a:gd name="T95" fmla="*/ 13009 h 2040"/>
                  <a:gd name="T96" fmla="+- 0 5181 3520"/>
                  <a:gd name="T97" fmla="*/ T96 w 2014"/>
                  <a:gd name="T98" fmla="+- 0 12916 11122"/>
                  <a:gd name="T99" fmla="*/ 12916 h 2040"/>
                  <a:gd name="T100" fmla="+- 0 5291 3520"/>
                  <a:gd name="T101" fmla="*/ T100 w 2014"/>
                  <a:gd name="T102" fmla="+- 0 12805 11122"/>
                  <a:gd name="T103" fmla="*/ 12805 h 2040"/>
                  <a:gd name="T104" fmla="+- 0 5382 3520"/>
                  <a:gd name="T105" fmla="*/ T104 w 2014"/>
                  <a:gd name="T106" fmla="+- 0 12679 11122"/>
                  <a:gd name="T107" fmla="*/ 12679 h 2040"/>
                  <a:gd name="T108" fmla="+- 0 5454 3520"/>
                  <a:gd name="T109" fmla="*/ T108 w 2014"/>
                  <a:gd name="T110" fmla="+- 0 12538 11122"/>
                  <a:gd name="T111" fmla="*/ 12538 h 2040"/>
                  <a:gd name="T112" fmla="+- 0 5504 3520"/>
                  <a:gd name="T113" fmla="*/ T112 w 2014"/>
                  <a:gd name="T114" fmla="+- 0 12387 11122"/>
                  <a:gd name="T115" fmla="*/ 12387 h 2040"/>
                  <a:gd name="T116" fmla="+- 0 5530 3520"/>
                  <a:gd name="T117" fmla="*/ T116 w 2014"/>
                  <a:gd name="T118" fmla="+- 0 12225 11122"/>
                  <a:gd name="T119" fmla="*/ 12225 h 2040"/>
                  <a:gd name="T120" fmla="+- 0 5530 3520"/>
                  <a:gd name="T121" fmla="*/ T120 w 2014"/>
                  <a:gd name="T122" fmla="+- 0 12058 11122"/>
                  <a:gd name="T123" fmla="*/ 12058 h 2040"/>
                  <a:gd name="T124" fmla="+- 0 5504 3520"/>
                  <a:gd name="T125" fmla="*/ T124 w 2014"/>
                  <a:gd name="T126" fmla="+- 0 11897 11122"/>
                  <a:gd name="T127" fmla="*/ 11897 h 2040"/>
                  <a:gd name="T128" fmla="+- 0 5454 3520"/>
                  <a:gd name="T129" fmla="*/ T128 w 2014"/>
                  <a:gd name="T130" fmla="+- 0 11745 11122"/>
                  <a:gd name="T131" fmla="*/ 11745 h 2040"/>
                  <a:gd name="T132" fmla="+- 0 5382 3520"/>
                  <a:gd name="T133" fmla="*/ T132 w 2014"/>
                  <a:gd name="T134" fmla="+- 0 11605 11122"/>
                  <a:gd name="T135" fmla="*/ 11605 h 2040"/>
                  <a:gd name="T136" fmla="+- 0 5291 3520"/>
                  <a:gd name="T137" fmla="*/ T136 w 2014"/>
                  <a:gd name="T138" fmla="+- 0 11478 11122"/>
                  <a:gd name="T139" fmla="*/ 11478 h 2040"/>
                  <a:gd name="T140" fmla="+- 0 5181 3520"/>
                  <a:gd name="T141" fmla="*/ T140 w 2014"/>
                  <a:gd name="T142" fmla="+- 0 11367 11122"/>
                  <a:gd name="T143" fmla="*/ 11367 h 2040"/>
                  <a:gd name="T144" fmla="+- 0 5057 3520"/>
                  <a:gd name="T145" fmla="*/ T144 w 2014"/>
                  <a:gd name="T146" fmla="+- 0 11275 11122"/>
                  <a:gd name="T147" fmla="*/ 11275 h 2040"/>
                  <a:gd name="T148" fmla="+- 0 4918 3520"/>
                  <a:gd name="T149" fmla="*/ T148 w 2014"/>
                  <a:gd name="T150" fmla="+- 0 11202 11122"/>
                  <a:gd name="T151" fmla="*/ 11202 h 2040"/>
                  <a:gd name="T152" fmla="+- 0 4768 3520"/>
                  <a:gd name="T153" fmla="*/ T152 w 2014"/>
                  <a:gd name="T154" fmla="+- 0 11151 11122"/>
                  <a:gd name="T155" fmla="*/ 11151 h 2040"/>
                  <a:gd name="T156" fmla="+- 0 4609 3520"/>
                  <a:gd name="T157" fmla="*/ T156 w 2014"/>
                  <a:gd name="T158" fmla="+- 0 11125 11122"/>
                  <a:gd name="T159" fmla="*/ 11125 h 2040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  <a:cxn ang="0">
                    <a:pos x="T17" y="T19"/>
                  </a:cxn>
                  <a:cxn ang="0">
                    <a:pos x="T21" y="T23"/>
                  </a:cxn>
                  <a:cxn ang="0">
                    <a:pos x="T25" y="T27"/>
                  </a:cxn>
                  <a:cxn ang="0">
                    <a:pos x="T29" y="T31"/>
                  </a:cxn>
                  <a:cxn ang="0">
                    <a:pos x="T33" y="T35"/>
                  </a:cxn>
                  <a:cxn ang="0">
                    <a:pos x="T37" y="T39"/>
                  </a:cxn>
                  <a:cxn ang="0">
                    <a:pos x="T41" y="T43"/>
                  </a:cxn>
                  <a:cxn ang="0">
                    <a:pos x="T45" y="T47"/>
                  </a:cxn>
                  <a:cxn ang="0">
                    <a:pos x="T49" y="T51"/>
                  </a:cxn>
                  <a:cxn ang="0">
                    <a:pos x="T53" y="T55"/>
                  </a:cxn>
                  <a:cxn ang="0">
                    <a:pos x="T57" y="T59"/>
                  </a:cxn>
                  <a:cxn ang="0">
                    <a:pos x="T61" y="T63"/>
                  </a:cxn>
                  <a:cxn ang="0">
                    <a:pos x="T65" y="T67"/>
                  </a:cxn>
                  <a:cxn ang="0">
                    <a:pos x="T69" y="T71"/>
                  </a:cxn>
                  <a:cxn ang="0">
                    <a:pos x="T73" y="T75"/>
                  </a:cxn>
                  <a:cxn ang="0">
                    <a:pos x="T77" y="T79"/>
                  </a:cxn>
                  <a:cxn ang="0">
                    <a:pos x="T81" y="T83"/>
                  </a:cxn>
                  <a:cxn ang="0">
                    <a:pos x="T85" y="T87"/>
                  </a:cxn>
                  <a:cxn ang="0">
                    <a:pos x="T89" y="T91"/>
                  </a:cxn>
                  <a:cxn ang="0">
                    <a:pos x="T93" y="T95"/>
                  </a:cxn>
                  <a:cxn ang="0">
                    <a:pos x="T97" y="T99"/>
                  </a:cxn>
                  <a:cxn ang="0">
                    <a:pos x="T101" y="T103"/>
                  </a:cxn>
                  <a:cxn ang="0">
                    <a:pos x="T105" y="T107"/>
                  </a:cxn>
                  <a:cxn ang="0">
                    <a:pos x="T109" y="T111"/>
                  </a:cxn>
                  <a:cxn ang="0">
                    <a:pos x="T113" y="T115"/>
                  </a:cxn>
                  <a:cxn ang="0">
                    <a:pos x="T117" y="T119"/>
                  </a:cxn>
                  <a:cxn ang="0">
                    <a:pos x="T121" y="T123"/>
                  </a:cxn>
                  <a:cxn ang="0">
                    <a:pos x="T125" y="T127"/>
                  </a:cxn>
                  <a:cxn ang="0">
                    <a:pos x="T129" y="T131"/>
                  </a:cxn>
                  <a:cxn ang="0">
                    <a:pos x="T133" y="T135"/>
                  </a:cxn>
                  <a:cxn ang="0">
                    <a:pos x="T137" y="T139"/>
                  </a:cxn>
                  <a:cxn ang="0">
                    <a:pos x="T141" y="T143"/>
                  </a:cxn>
                  <a:cxn ang="0">
                    <a:pos x="T145" y="T147"/>
                  </a:cxn>
                  <a:cxn ang="0">
                    <a:pos x="T149" y="T151"/>
                  </a:cxn>
                  <a:cxn ang="0">
                    <a:pos x="T153" y="T155"/>
                  </a:cxn>
                  <a:cxn ang="0">
                    <a:pos x="T157" y="T159"/>
                  </a:cxn>
                </a:cxnLst>
                <a:rect l="0" t="0" r="r" b="b"/>
                <a:pathLst>
                  <a:path w="2014" h="2040">
                    <a:moveTo>
                      <a:pt x="1006" y="0"/>
                    </a:moveTo>
                    <a:lnTo>
                      <a:pt x="924" y="3"/>
                    </a:lnTo>
                    <a:lnTo>
                      <a:pt x="843" y="13"/>
                    </a:lnTo>
                    <a:lnTo>
                      <a:pt x="765" y="29"/>
                    </a:lnTo>
                    <a:lnTo>
                      <a:pt x="688" y="52"/>
                    </a:lnTo>
                    <a:lnTo>
                      <a:pt x="615" y="80"/>
                    </a:lnTo>
                    <a:lnTo>
                      <a:pt x="544" y="114"/>
                    </a:lnTo>
                    <a:lnTo>
                      <a:pt x="476" y="153"/>
                    </a:lnTo>
                    <a:lnTo>
                      <a:pt x="412" y="197"/>
                    </a:lnTo>
                    <a:lnTo>
                      <a:pt x="351" y="245"/>
                    </a:lnTo>
                    <a:lnTo>
                      <a:pt x="295" y="299"/>
                    </a:lnTo>
                    <a:lnTo>
                      <a:pt x="242" y="356"/>
                    </a:lnTo>
                    <a:lnTo>
                      <a:pt x="194" y="417"/>
                    </a:lnTo>
                    <a:lnTo>
                      <a:pt x="151" y="483"/>
                    </a:lnTo>
                    <a:lnTo>
                      <a:pt x="112" y="551"/>
                    </a:lnTo>
                    <a:lnTo>
                      <a:pt x="79" y="623"/>
                    </a:lnTo>
                    <a:lnTo>
                      <a:pt x="51" y="697"/>
                    </a:lnTo>
                    <a:lnTo>
                      <a:pt x="29" y="775"/>
                    </a:lnTo>
                    <a:lnTo>
                      <a:pt x="13" y="854"/>
                    </a:lnTo>
                    <a:lnTo>
                      <a:pt x="3" y="936"/>
                    </a:lnTo>
                    <a:lnTo>
                      <a:pt x="0" y="1020"/>
                    </a:lnTo>
                    <a:lnTo>
                      <a:pt x="3" y="1103"/>
                    </a:lnTo>
                    <a:lnTo>
                      <a:pt x="13" y="1185"/>
                    </a:lnTo>
                    <a:lnTo>
                      <a:pt x="29" y="1265"/>
                    </a:lnTo>
                    <a:lnTo>
                      <a:pt x="51" y="1342"/>
                    </a:lnTo>
                    <a:lnTo>
                      <a:pt x="79" y="1416"/>
                    </a:lnTo>
                    <a:lnTo>
                      <a:pt x="112" y="1488"/>
                    </a:lnTo>
                    <a:lnTo>
                      <a:pt x="151" y="1557"/>
                    </a:lnTo>
                    <a:lnTo>
                      <a:pt x="194" y="1622"/>
                    </a:lnTo>
                    <a:lnTo>
                      <a:pt x="242" y="1683"/>
                    </a:lnTo>
                    <a:lnTo>
                      <a:pt x="295" y="1741"/>
                    </a:lnTo>
                    <a:lnTo>
                      <a:pt x="351" y="1794"/>
                    </a:lnTo>
                    <a:lnTo>
                      <a:pt x="412" y="1843"/>
                    </a:lnTo>
                    <a:lnTo>
                      <a:pt x="476" y="1887"/>
                    </a:lnTo>
                    <a:lnTo>
                      <a:pt x="544" y="1926"/>
                    </a:lnTo>
                    <a:lnTo>
                      <a:pt x="615" y="1959"/>
                    </a:lnTo>
                    <a:lnTo>
                      <a:pt x="688" y="1988"/>
                    </a:lnTo>
                    <a:lnTo>
                      <a:pt x="765" y="2010"/>
                    </a:lnTo>
                    <a:lnTo>
                      <a:pt x="843" y="2026"/>
                    </a:lnTo>
                    <a:lnTo>
                      <a:pt x="924" y="2036"/>
                    </a:lnTo>
                    <a:lnTo>
                      <a:pt x="1006" y="2040"/>
                    </a:lnTo>
                    <a:lnTo>
                      <a:pt x="1089" y="2036"/>
                    </a:lnTo>
                    <a:lnTo>
                      <a:pt x="1170" y="2026"/>
                    </a:lnTo>
                    <a:lnTo>
                      <a:pt x="1248" y="2010"/>
                    </a:lnTo>
                    <a:lnTo>
                      <a:pt x="1324" y="1988"/>
                    </a:lnTo>
                    <a:lnTo>
                      <a:pt x="1398" y="1959"/>
                    </a:lnTo>
                    <a:lnTo>
                      <a:pt x="1469" y="1926"/>
                    </a:lnTo>
                    <a:lnTo>
                      <a:pt x="1537" y="1887"/>
                    </a:lnTo>
                    <a:lnTo>
                      <a:pt x="1601" y="1843"/>
                    </a:lnTo>
                    <a:lnTo>
                      <a:pt x="1661" y="1794"/>
                    </a:lnTo>
                    <a:lnTo>
                      <a:pt x="1718" y="1741"/>
                    </a:lnTo>
                    <a:lnTo>
                      <a:pt x="1771" y="1683"/>
                    </a:lnTo>
                    <a:lnTo>
                      <a:pt x="1819" y="1622"/>
                    </a:lnTo>
                    <a:lnTo>
                      <a:pt x="1862" y="1557"/>
                    </a:lnTo>
                    <a:lnTo>
                      <a:pt x="1901" y="1488"/>
                    </a:lnTo>
                    <a:lnTo>
                      <a:pt x="1934" y="1416"/>
                    </a:lnTo>
                    <a:lnTo>
                      <a:pt x="1962" y="1342"/>
                    </a:lnTo>
                    <a:lnTo>
                      <a:pt x="1984" y="1265"/>
                    </a:lnTo>
                    <a:lnTo>
                      <a:pt x="2000" y="1185"/>
                    </a:lnTo>
                    <a:lnTo>
                      <a:pt x="2010" y="1103"/>
                    </a:lnTo>
                    <a:lnTo>
                      <a:pt x="2013" y="1020"/>
                    </a:lnTo>
                    <a:lnTo>
                      <a:pt x="2010" y="936"/>
                    </a:lnTo>
                    <a:lnTo>
                      <a:pt x="2000" y="854"/>
                    </a:lnTo>
                    <a:lnTo>
                      <a:pt x="1984" y="775"/>
                    </a:lnTo>
                    <a:lnTo>
                      <a:pt x="1962" y="697"/>
                    </a:lnTo>
                    <a:lnTo>
                      <a:pt x="1934" y="623"/>
                    </a:lnTo>
                    <a:lnTo>
                      <a:pt x="1901" y="551"/>
                    </a:lnTo>
                    <a:lnTo>
                      <a:pt x="1862" y="483"/>
                    </a:lnTo>
                    <a:lnTo>
                      <a:pt x="1819" y="417"/>
                    </a:lnTo>
                    <a:lnTo>
                      <a:pt x="1771" y="356"/>
                    </a:lnTo>
                    <a:lnTo>
                      <a:pt x="1718" y="299"/>
                    </a:lnTo>
                    <a:lnTo>
                      <a:pt x="1661" y="245"/>
                    </a:lnTo>
                    <a:lnTo>
                      <a:pt x="1601" y="197"/>
                    </a:lnTo>
                    <a:lnTo>
                      <a:pt x="1537" y="153"/>
                    </a:lnTo>
                    <a:lnTo>
                      <a:pt x="1469" y="114"/>
                    </a:lnTo>
                    <a:lnTo>
                      <a:pt x="1398" y="80"/>
                    </a:lnTo>
                    <a:lnTo>
                      <a:pt x="1324" y="52"/>
                    </a:lnTo>
                    <a:lnTo>
                      <a:pt x="1248" y="29"/>
                    </a:lnTo>
                    <a:lnTo>
                      <a:pt x="1170" y="13"/>
                    </a:lnTo>
                    <a:lnTo>
                      <a:pt x="1089" y="3"/>
                    </a:lnTo>
                    <a:lnTo>
                      <a:pt x="100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it-IT"/>
              </a:p>
            </p:txBody>
          </p:sp>
        </p:grpSp>
        <p:grpSp>
          <p:nvGrpSpPr>
            <p:cNvPr id="14" name="Group 15"/>
            <p:cNvGrpSpPr>
              <a:grpSpLocks/>
            </p:cNvGrpSpPr>
            <p:nvPr/>
          </p:nvGrpSpPr>
          <p:grpSpPr bwMode="auto">
            <a:xfrm>
              <a:off x="3600" y="11237"/>
              <a:ext cx="1795" cy="1837"/>
              <a:chOff x="3600" y="11237"/>
              <a:chExt cx="1795" cy="1837"/>
            </a:xfrm>
          </p:grpSpPr>
          <p:sp>
            <p:nvSpPr>
              <p:cNvPr id="21" name="Freeform 16"/>
              <p:cNvSpPr>
                <a:spLocks/>
              </p:cNvSpPr>
              <p:nvPr/>
            </p:nvSpPr>
            <p:spPr bwMode="auto">
              <a:xfrm>
                <a:off x="3600" y="11237"/>
                <a:ext cx="1795" cy="1837"/>
              </a:xfrm>
              <a:custGeom>
                <a:avLst/>
                <a:gdLst>
                  <a:gd name="T0" fmla="+- 0 4424 3600"/>
                  <a:gd name="T1" fmla="*/ T0 w 1795"/>
                  <a:gd name="T2" fmla="+- 0 11240 11237"/>
                  <a:gd name="T3" fmla="*/ 11240 h 1837"/>
                  <a:gd name="T4" fmla="+- 0 4282 3600"/>
                  <a:gd name="T5" fmla="*/ T4 w 1795"/>
                  <a:gd name="T6" fmla="+- 0 11264 11237"/>
                  <a:gd name="T7" fmla="*/ 11264 h 1837"/>
                  <a:gd name="T8" fmla="+- 0 4148 3600"/>
                  <a:gd name="T9" fmla="*/ T8 w 1795"/>
                  <a:gd name="T10" fmla="+- 0 11309 11237"/>
                  <a:gd name="T11" fmla="*/ 11309 h 1837"/>
                  <a:gd name="T12" fmla="+- 0 4025 3600"/>
                  <a:gd name="T13" fmla="*/ T12 w 1795"/>
                  <a:gd name="T14" fmla="+- 0 11375 11237"/>
                  <a:gd name="T15" fmla="*/ 11375 h 1837"/>
                  <a:gd name="T16" fmla="+- 0 3914 3600"/>
                  <a:gd name="T17" fmla="*/ T16 w 1795"/>
                  <a:gd name="T18" fmla="+- 0 11458 11237"/>
                  <a:gd name="T19" fmla="*/ 11458 h 1837"/>
                  <a:gd name="T20" fmla="+- 0 3816 3600"/>
                  <a:gd name="T21" fmla="*/ T20 w 1795"/>
                  <a:gd name="T22" fmla="+- 0 11558 11237"/>
                  <a:gd name="T23" fmla="*/ 11558 h 1837"/>
                  <a:gd name="T24" fmla="+- 0 3735 3600"/>
                  <a:gd name="T25" fmla="*/ T24 w 1795"/>
                  <a:gd name="T26" fmla="+- 0 11672 11237"/>
                  <a:gd name="T27" fmla="*/ 11672 h 1837"/>
                  <a:gd name="T28" fmla="+- 0 3671 3600"/>
                  <a:gd name="T29" fmla="*/ T28 w 1795"/>
                  <a:gd name="T30" fmla="+- 0 11798 11237"/>
                  <a:gd name="T31" fmla="*/ 11798 h 1837"/>
                  <a:gd name="T32" fmla="+- 0 3626 3600"/>
                  <a:gd name="T33" fmla="*/ T32 w 1795"/>
                  <a:gd name="T34" fmla="+- 0 11935 11237"/>
                  <a:gd name="T35" fmla="*/ 11935 h 1837"/>
                  <a:gd name="T36" fmla="+- 0 3603 3600"/>
                  <a:gd name="T37" fmla="*/ T36 w 1795"/>
                  <a:gd name="T38" fmla="+- 0 12081 11237"/>
                  <a:gd name="T39" fmla="*/ 12081 h 1837"/>
                  <a:gd name="T40" fmla="+- 0 3603 3600"/>
                  <a:gd name="T41" fmla="*/ T40 w 1795"/>
                  <a:gd name="T42" fmla="+- 0 12231 11237"/>
                  <a:gd name="T43" fmla="*/ 12231 h 1837"/>
                  <a:gd name="T44" fmla="+- 0 3626 3600"/>
                  <a:gd name="T45" fmla="*/ T44 w 1795"/>
                  <a:gd name="T46" fmla="+- 0 12376 11237"/>
                  <a:gd name="T47" fmla="*/ 12376 h 1837"/>
                  <a:gd name="T48" fmla="+- 0 3671 3600"/>
                  <a:gd name="T49" fmla="*/ T48 w 1795"/>
                  <a:gd name="T50" fmla="+- 0 12513 11237"/>
                  <a:gd name="T51" fmla="*/ 12513 h 1837"/>
                  <a:gd name="T52" fmla="+- 0 3735 3600"/>
                  <a:gd name="T53" fmla="*/ T52 w 1795"/>
                  <a:gd name="T54" fmla="+- 0 12639 11237"/>
                  <a:gd name="T55" fmla="*/ 12639 h 1837"/>
                  <a:gd name="T56" fmla="+- 0 3816 3600"/>
                  <a:gd name="T57" fmla="*/ T56 w 1795"/>
                  <a:gd name="T58" fmla="+- 0 12753 11237"/>
                  <a:gd name="T59" fmla="*/ 12753 h 1837"/>
                  <a:gd name="T60" fmla="+- 0 3914 3600"/>
                  <a:gd name="T61" fmla="*/ T60 w 1795"/>
                  <a:gd name="T62" fmla="+- 0 12853 11237"/>
                  <a:gd name="T63" fmla="*/ 12853 h 1837"/>
                  <a:gd name="T64" fmla="+- 0 4025 3600"/>
                  <a:gd name="T65" fmla="*/ T64 w 1795"/>
                  <a:gd name="T66" fmla="+- 0 12936 11237"/>
                  <a:gd name="T67" fmla="*/ 12936 h 1837"/>
                  <a:gd name="T68" fmla="+- 0 4148 3600"/>
                  <a:gd name="T69" fmla="*/ T68 w 1795"/>
                  <a:gd name="T70" fmla="+- 0 13002 11237"/>
                  <a:gd name="T71" fmla="*/ 13002 h 1837"/>
                  <a:gd name="T72" fmla="+- 0 4282 3600"/>
                  <a:gd name="T73" fmla="*/ T72 w 1795"/>
                  <a:gd name="T74" fmla="+- 0 13047 11237"/>
                  <a:gd name="T75" fmla="*/ 13047 h 1837"/>
                  <a:gd name="T76" fmla="+- 0 4424 3600"/>
                  <a:gd name="T77" fmla="*/ T76 w 1795"/>
                  <a:gd name="T78" fmla="+- 0 13071 11237"/>
                  <a:gd name="T79" fmla="*/ 13071 h 1837"/>
                  <a:gd name="T80" fmla="+- 0 4571 3600"/>
                  <a:gd name="T81" fmla="*/ T80 w 1795"/>
                  <a:gd name="T82" fmla="+- 0 13071 11237"/>
                  <a:gd name="T83" fmla="*/ 13071 h 1837"/>
                  <a:gd name="T84" fmla="+- 0 4713 3600"/>
                  <a:gd name="T85" fmla="*/ T84 w 1795"/>
                  <a:gd name="T86" fmla="+- 0 13047 11237"/>
                  <a:gd name="T87" fmla="*/ 13047 h 1837"/>
                  <a:gd name="T88" fmla="+- 0 4847 3600"/>
                  <a:gd name="T89" fmla="*/ T88 w 1795"/>
                  <a:gd name="T90" fmla="+- 0 13002 11237"/>
                  <a:gd name="T91" fmla="*/ 13002 h 1837"/>
                  <a:gd name="T92" fmla="+- 0 4970 3600"/>
                  <a:gd name="T93" fmla="*/ T92 w 1795"/>
                  <a:gd name="T94" fmla="+- 0 12936 11237"/>
                  <a:gd name="T95" fmla="*/ 12936 h 1837"/>
                  <a:gd name="T96" fmla="+- 0 5082 3600"/>
                  <a:gd name="T97" fmla="*/ T96 w 1795"/>
                  <a:gd name="T98" fmla="+- 0 12853 11237"/>
                  <a:gd name="T99" fmla="*/ 12853 h 1837"/>
                  <a:gd name="T100" fmla="+- 0 5179 3600"/>
                  <a:gd name="T101" fmla="*/ T100 w 1795"/>
                  <a:gd name="T102" fmla="+- 0 12753 11237"/>
                  <a:gd name="T103" fmla="*/ 12753 h 1837"/>
                  <a:gd name="T104" fmla="+- 0 5261 3600"/>
                  <a:gd name="T105" fmla="*/ T104 w 1795"/>
                  <a:gd name="T106" fmla="+- 0 12639 11237"/>
                  <a:gd name="T107" fmla="*/ 12639 h 1837"/>
                  <a:gd name="T108" fmla="+- 0 5325 3600"/>
                  <a:gd name="T109" fmla="*/ T108 w 1795"/>
                  <a:gd name="T110" fmla="+- 0 12513 11237"/>
                  <a:gd name="T111" fmla="*/ 12513 h 1837"/>
                  <a:gd name="T112" fmla="+- 0 5369 3600"/>
                  <a:gd name="T113" fmla="*/ T112 w 1795"/>
                  <a:gd name="T114" fmla="+- 0 12376 11237"/>
                  <a:gd name="T115" fmla="*/ 12376 h 1837"/>
                  <a:gd name="T116" fmla="+- 0 5392 3600"/>
                  <a:gd name="T117" fmla="*/ T116 w 1795"/>
                  <a:gd name="T118" fmla="+- 0 12231 11237"/>
                  <a:gd name="T119" fmla="*/ 12231 h 1837"/>
                  <a:gd name="T120" fmla="+- 0 5392 3600"/>
                  <a:gd name="T121" fmla="*/ T120 w 1795"/>
                  <a:gd name="T122" fmla="+- 0 12081 11237"/>
                  <a:gd name="T123" fmla="*/ 12081 h 1837"/>
                  <a:gd name="T124" fmla="+- 0 5369 3600"/>
                  <a:gd name="T125" fmla="*/ T124 w 1795"/>
                  <a:gd name="T126" fmla="+- 0 11935 11237"/>
                  <a:gd name="T127" fmla="*/ 11935 h 1837"/>
                  <a:gd name="T128" fmla="+- 0 5325 3600"/>
                  <a:gd name="T129" fmla="*/ T128 w 1795"/>
                  <a:gd name="T130" fmla="+- 0 11798 11237"/>
                  <a:gd name="T131" fmla="*/ 11798 h 1837"/>
                  <a:gd name="T132" fmla="+- 0 5261 3600"/>
                  <a:gd name="T133" fmla="*/ T132 w 1795"/>
                  <a:gd name="T134" fmla="+- 0 11672 11237"/>
                  <a:gd name="T135" fmla="*/ 11672 h 1837"/>
                  <a:gd name="T136" fmla="+- 0 5179 3600"/>
                  <a:gd name="T137" fmla="*/ T136 w 1795"/>
                  <a:gd name="T138" fmla="+- 0 11558 11237"/>
                  <a:gd name="T139" fmla="*/ 11558 h 1837"/>
                  <a:gd name="T140" fmla="+- 0 5082 3600"/>
                  <a:gd name="T141" fmla="*/ T140 w 1795"/>
                  <a:gd name="T142" fmla="+- 0 11458 11237"/>
                  <a:gd name="T143" fmla="*/ 11458 h 1837"/>
                  <a:gd name="T144" fmla="+- 0 4970 3600"/>
                  <a:gd name="T145" fmla="*/ T144 w 1795"/>
                  <a:gd name="T146" fmla="+- 0 11375 11237"/>
                  <a:gd name="T147" fmla="*/ 11375 h 1837"/>
                  <a:gd name="T148" fmla="+- 0 4847 3600"/>
                  <a:gd name="T149" fmla="*/ T148 w 1795"/>
                  <a:gd name="T150" fmla="+- 0 11309 11237"/>
                  <a:gd name="T151" fmla="*/ 11309 h 1837"/>
                  <a:gd name="T152" fmla="+- 0 4713 3600"/>
                  <a:gd name="T153" fmla="*/ T152 w 1795"/>
                  <a:gd name="T154" fmla="+- 0 11264 11237"/>
                  <a:gd name="T155" fmla="*/ 11264 h 1837"/>
                  <a:gd name="T156" fmla="+- 0 4571 3600"/>
                  <a:gd name="T157" fmla="*/ T156 w 1795"/>
                  <a:gd name="T158" fmla="+- 0 11240 11237"/>
                  <a:gd name="T159" fmla="*/ 11240 h 1837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  <a:cxn ang="0">
                    <a:pos x="T17" y="T19"/>
                  </a:cxn>
                  <a:cxn ang="0">
                    <a:pos x="T21" y="T23"/>
                  </a:cxn>
                  <a:cxn ang="0">
                    <a:pos x="T25" y="T27"/>
                  </a:cxn>
                  <a:cxn ang="0">
                    <a:pos x="T29" y="T31"/>
                  </a:cxn>
                  <a:cxn ang="0">
                    <a:pos x="T33" y="T35"/>
                  </a:cxn>
                  <a:cxn ang="0">
                    <a:pos x="T37" y="T39"/>
                  </a:cxn>
                  <a:cxn ang="0">
                    <a:pos x="T41" y="T43"/>
                  </a:cxn>
                  <a:cxn ang="0">
                    <a:pos x="T45" y="T47"/>
                  </a:cxn>
                  <a:cxn ang="0">
                    <a:pos x="T49" y="T51"/>
                  </a:cxn>
                  <a:cxn ang="0">
                    <a:pos x="T53" y="T55"/>
                  </a:cxn>
                  <a:cxn ang="0">
                    <a:pos x="T57" y="T59"/>
                  </a:cxn>
                  <a:cxn ang="0">
                    <a:pos x="T61" y="T63"/>
                  </a:cxn>
                  <a:cxn ang="0">
                    <a:pos x="T65" y="T67"/>
                  </a:cxn>
                  <a:cxn ang="0">
                    <a:pos x="T69" y="T71"/>
                  </a:cxn>
                  <a:cxn ang="0">
                    <a:pos x="T73" y="T75"/>
                  </a:cxn>
                  <a:cxn ang="0">
                    <a:pos x="T77" y="T79"/>
                  </a:cxn>
                  <a:cxn ang="0">
                    <a:pos x="T81" y="T83"/>
                  </a:cxn>
                  <a:cxn ang="0">
                    <a:pos x="T85" y="T87"/>
                  </a:cxn>
                  <a:cxn ang="0">
                    <a:pos x="T89" y="T91"/>
                  </a:cxn>
                  <a:cxn ang="0">
                    <a:pos x="T93" y="T95"/>
                  </a:cxn>
                  <a:cxn ang="0">
                    <a:pos x="T97" y="T99"/>
                  </a:cxn>
                  <a:cxn ang="0">
                    <a:pos x="T101" y="T103"/>
                  </a:cxn>
                  <a:cxn ang="0">
                    <a:pos x="T105" y="T107"/>
                  </a:cxn>
                  <a:cxn ang="0">
                    <a:pos x="T109" y="T111"/>
                  </a:cxn>
                  <a:cxn ang="0">
                    <a:pos x="T113" y="T115"/>
                  </a:cxn>
                  <a:cxn ang="0">
                    <a:pos x="T117" y="T119"/>
                  </a:cxn>
                  <a:cxn ang="0">
                    <a:pos x="T121" y="T123"/>
                  </a:cxn>
                  <a:cxn ang="0">
                    <a:pos x="T125" y="T127"/>
                  </a:cxn>
                  <a:cxn ang="0">
                    <a:pos x="T129" y="T131"/>
                  </a:cxn>
                  <a:cxn ang="0">
                    <a:pos x="T133" y="T135"/>
                  </a:cxn>
                  <a:cxn ang="0">
                    <a:pos x="T137" y="T139"/>
                  </a:cxn>
                  <a:cxn ang="0">
                    <a:pos x="T141" y="T143"/>
                  </a:cxn>
                  <a:cxn ang="0">
                    <a:pos x="T145" y="T147"/>
                  </a:cxn>
                  <a:cxn ang="0">
                    <a:pos x="T149" y="T151"/>
                  </a:cxn>
                  <a:cxn ang="0">
                    <a:pos x="T153" y="T155"/>
                  </a:cxn>
                  <a:cxn ang="0">
                    <a:pos x="T157" y="T159"/>
                  </a:cxn>
                </a:cxnLst>
                <a:rect l="0" t="0" r="r" b="b"/>
                <a:pathLst>
                  <a:path w="1795" h="1837">
                    <a:moveTo>
                      <a:pt x="898" y="0"/>
                    </a:moveTo>
                    <a:lnTo>
                      <a:pt x="824" y="3"/>
                    </a:lnTo>
                    <a:lnTo>
                      <a:pt x="752" y="12"/>
                    </a:lnTo>
                    <a:lnTo>
                      <a:pt x="682" y="27"/>
                    </a:lnTo>
                    <a:lnTo>
                      <a:pt x="614" y="47"/>
                    </a:lnTo>
                    <a:lnTo>
                      <a:pt x="548" y="72"/>
                    </a:lnTo>
                    <a:lnTo>
                      <a:pt x="485" y="102"/>
                    </a:lnTo>
                    <a:lnTo>
                      <a:pt x="425" y="138"/>
                    </a:lnTo>
                    <a:lnTo>
                      <a:pt x="368" y="177"/>
                    </a:lnTo>
                    <a:lnTo>
                      <a:pt x="314" y="221"/>
                    </a:lnTo>
                    <a:lnTo>
                      <a:pt x="263" y="269"/>
                    </a:lnTo>
                    <a:lnTo>
                      <a:pt x="216" y="321"/>
                    </a:lnTo>
                    <a:lnTo>
                      <a:pt x="173" y="376"/>
                    </a:lnTo>
                    <a:lnTo>
                      <a:pt x="135" y="435"/>
                    </a:lnTo>
                    <a:lnTo>
                      <a:pt x="100" y="497"/>
                    </a:lnTo>
                    <a:lnTo>
                      <a:pt x="71" y="561"/>
                    </a:lnTo>
                    <a:lnTo>
                      <a:pt x="46" y="628"/>
                    </a:lnTo>
                    <a:lnTo>
                      <a:pt x="26" y="698"/>
                    </a:lnTo>
                    <a:lnTo>
                      <a:pt x="12" y="770"/>
                    </a:lnTo>
                    <a:lnTo>
                      <a:pt x="3" y="844"/>
                    </a:lnTo>
                    <a:lnTo>
                      <a:pt x="0" y="919"/>
                    </a:lnTo>
                    <a:lnTo>
                      <a:pt x="3" y="994"/>
                    </a:lnTo>
                    <a:lnTo>
                      <a:pt x="12" y="1068"/>
                    </a:lnTo>
                    <a:lnTo>
                      <a:pt x="26" y="1139"/>
                    </a:lnTo>
                    <a:lnTo>
                      <a:pt x="46" y="1209"/>
                    </a:lnTo>
                    <a:lnTo>
                      <a:pt x="71" y="1276"/>
                    </a:lnTo>
                    <a:lnTo>
                      <a:pt x="100" y="1341"/>
                    </a:lnTo>
                    <a:lnTo>
                      <a:pt x="135" y="1402"/>
                    </a:lnTo>
                    <a:lnTo>
                      <a:pt x="173" y="1461"/>
                    </a:lnTo>
                    <a:lnTo>
                      <a:pt x="216" y="1516"/>
                    </a:lnTo>
                    <a:lnTo>
                      <a:pt x="263" y="1568"/>
                    </a:lnTo>
                    <a:lnTo>
                      <a:pt x="314" y="1616"/>
                    </a:lnTo>
                    <a:lnTo>
                      <a:pt x="368" y="1660"/>
                    </a:lnTo>
                    <a:lnTo>
                      <a:pt x="425" y="1699"/>
                    </a:lnTo>
                    <a:lnTo>
                      <a:pt x="485" y="1734"/>
                    </a:lnTo>
                    <a:lnTo>
                      <a:pt x="548" y="1765"/>
                    </a:lnTo>
                    <a:lnTo>
                      <a:pt x="614" y="1790"/>
                    </a:lnTo>
                    <a:lnTo>
                      <a:pt x="682" y="1810"/>
                    </a:lnTo>
                    <a:lnTo>
                      <a:pt x="752" y="1825"/>
                    </a:lnTo>
                    <a:lnTo>
                      <a:pt x="824" y="1834"/>
                    </a:lnTo>
                    <a:lnTo>
                      <a:pt x="898" y="1837"/>
                    </a:lnTo>
                    <a:lnTo>
                      <a:pt x="971" y="1834"/>
                    </a:lnTo>
                    <a:lnTo>
                      <a:pt x="1043" y="1825"/>
                    </a:lnTo>
                    <a:lnTo>
                      <a:pt x="1113" y="1810"/>
                    </a:lnTo>
                    <a:lnTo>
                      <a:pt x="1181" y="1790"/>
                    </a:lnTo>
                    <a:lnTo>
                      <a:pt x="1247" y="1765"/>
                    </a:lnTo>
                    <a:lnTo>
                      <a:pt x="1310" y="1734"/>
                    </a:lnTo>
                    <a:lnTo>
                      <a:pt x="1370" y="1699"/>
                    </a:lnTo>
                    <a:lnTo>
                      <a:pt x="1428" y="1660"/>
                    </a:lnTo>
                    <a:lnTo>
                      <a:pt x="1482" y="1616"/>
                    </a:lnTo>
                    <a:lnTo>
                      <a:pt x="1532" y="1568"/>
                    </a:lnTo>
                    <a:lnTo>
                      <a:pt x="1579" y="1516"/>
                    </a:lnTo>
                    <a:lnTo>
                      <a:pt x="1622" y="1461"/>
                    </a:lnTo>
                    <a:lnTo>
                      <a:pt x="1661" y="1402"/>
                    </a:lnTo>
                    <a:lnTo>
                      <a:pt x="1695" y="1341"/>
                    </a:lnTo>
                    <a:lnTo>
                      <a:pt x="1725" y="1276"/>
                    </a:lnTo>
                    <a:lnTo>
                      <a:pt x="1749" y="1209"/>
                    </a:lnTo>
                    <a:lnTo>
                      <a:pt x="1769" y="1139"/>
                    </a:lnTo>
                    <a:lnTo>
                      <a:pt x="1783" y="1068"/>
                    </a:lnTo>
                    <a:lnTo>
                      <a:pt x="1792" y="994"/>
                    </a:lnTo>
                    <a:lnTo>
                      <a:pt x="1795" y="919"/>
                    </a:lnTo>
                    <a:lnTo>
                      <a:pt x="1792" y="844"/>
                    </a:lnTo>
                    <a:lnTo>
                      <a:pt x="1783" y="770"/>
                    </a:lnTo>
                    <a:lnTo>
                      <a:pt x="1769" y="698"/>
                    </a:lnTo>
                    <a:lnTo>
                      <a:pt x="1749" y="628"/>
                    </a:lnTo>
                    <a:lnTo>
                      <a:pt x="1725" y="561"/>
                    </a:lnTo>
                    <a:lnTo>
                      <a:pt x="1695" y="497"/>
                    </a:lnTo>
                    <a:lnTo>
                      <a:pt x="1661" y="435"/>
                    </a:lnTo>
                    <a:lnTo>
                      <a:pt x="1622" y="376"/>
                    </a:lnTo>
                    <a:lnTo>
                      <a:pt x="1579" y="321"/>
                    </a:lnTo>
                    <a:lnTo>
                      <a:pt x="1532" y="269"/>
                    </a:lnTo>
                    <a:lnTo>
                      <a:pt x="1482" y="221"/>
                    </a:lnTo>
                    <a:lnTo>
                      <a:pt x="1428" y="177"/>
                    </a:lnTo>
                    <a:lnTo>
                      <a:pt x="1370" y="138"/>
                    </a:lnTo>
                    <a:lnTo>
                      <a:pt x="1310" y="102"/>
                    </a:lnTo>
                    <a:lnTo>
                      <a:pt x="1247" y="72"/>
                    </a:lnTo>
                    <a:lnTo>
                      <a:pt x="1181" y="47"/>
                    </a:lnTo>
                    <a:lnTo>
                      <a:pt x="1113" y="27"/>
                    </a:lnTo>
                    <a:lnTo>
                      <a:pt x="1043" y="12"/>
                    </a:lnTo>
                    <a:lnTo>
                      <a:pt x="971" y="3"/>
                    </a:lnTo>
                    <a:lnTo>
                      <a:pt x="89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it-IT"/>
              </a:p>
            </p:txBody>
          </p:sp>
        </p:grpSp>
        <p:grpSp>
          <p:nvGrpSpPr>
            <p:cNvPr id="15" name="Group 12"/>
            <p:cNvGrpSpPr>
              <a:grpSpLocks/>
            </p:cNvGrpSpPr>
            <p:nvPr/>
          </p:nvGrpSpPr>
          <p:grpSpPr bwMode="auto">
            <a:xfrm>
              <a:off x="4079" y="11425"/>
              <a:ext cx="481" cy="883"/>
              <a:chOff x="4079" y="11425"/>
              <a:chExt cx="481" cy="883"/>
            </a:xfrm>
          </p:grpSpPr>
          <p:sp>
            <p:nvSpPr>
              <p:cNvPr id="19" name="Freeform 14"/>
              <p:cNvSpPr>
                <a:spLocks/>
              </p:cNvSpPr>
              <p:nvPr/>
            </p:nvSpPr>
            <p:spPr bwMode="auto">
              <a:xfrm>
                <a:off x="4079" y="11425"/>
                <a:ext cx="481" cy="883"/>
              </a:xfrm>
              <a:custGeom>
                <a:avLst/>
                <a:gdLst>
                  <a:gd name="T0" fmla="+- 0 4322 4079"/>
                  <a:gd name="T1" fmla="*/ T0 w 481"/>
                  <a:gd name="T2" fmla="+- 0 11686 11425"/>
                  <a:gd name="T3" fmla="*/ 11686 h 883"/>
                  <a:gd name="T4" fmla="+- 0 4184 4079"/>
                  <a:gd name="T5" fmla="*/ T4 w 481"/>
                  <a:gd name="T6" fmla="+- 0 11686 11425"/>
                  <a:gd name="T7" fmla="*/ 11686 h 883"/>
                  <a:gd name="T8" fmla="+- 0 4504 4079"/>
                  <a:gd name="T9" fmla="*/ T8 w 481"/>
                  <a:gd name="T10" fmla="+- 0 12308 11425"/>
                  <a:gd name="T11" fmla="*/ 12308 h 883"/>
                  <a:gd name="T12" fmla="+- 0 4560 4079"/>
                  <a:gd name="T13" fmla="*/ T12 w 481"/>
                  <a:gd name="T14" fmla="+- 0 12200 11425"/>
                  <a:gd name="T15" fmla="*/ 12200 h 883"/>
                  <a:gd name="T16" fmla="+- 0 4261 4079"/>
                  <a:gd name="T17" fmla="*/ T16 w 481"/>
                  <a:gd name="T18" fmla="+- 0 11717 11425"/>
                  <a:gd name="T19" fmla="*/ 11717 h 883"/>
                  <a:gd name="T20" fmla="+- 0 4322 4079"/>
                  <a:gd name="T21" fmla="*/ T20 w 481"/>
                  <a:gd name="T22" fmla="+- 0 11686 11425"/>
                  <a:gd name="T23" fmla="*/ 11686 h 883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  <a:cxn ang="0">
                    <a:pos x="T17" y="T19"/>
                  </a:cxn>
                  <a:cxn ang="0">
                    <a:pos x="T21" y="T23"/>
                  </a:cxn>
                </a:cxnLst>
                <a:rect l="0" t="0" r="r" b="b"/>
                <a:pathLst>
                  <a:path w="481" h="883">
                    <a:moveTo>
                      <a:pt x="243" y="261"/>
                    </a:moveTo>
                    <a:lnTo>
                      <a:pt x="105" y="261"/>
                    </a:lnTo>
                    <a:lnTo>
                      <a:pt x="425" y="883"/>
                    </a:lnTo>
                    <a:lnTo>
                      <a:pt x="481" y="775"/>
                    </a:lnTo>
                    <a:lnTo>
                      <a:pt x="182" y="292"/>
                    </a:lnTo>
                    <a:lnTo>
                      <a:pt x="243" y="26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it-IT"/>
              </a:p>
            </p:txBody>
          </p:sp>
          <p:sp>
            <p:nvSpPr>
              <p:cNvPr id="20" name="Freeform 13"/>
              <p:cNvSpPr>
                <a:spLocks/>
              </p:cNvSpPr>
              <p:nvPr/>
            </p:nvSpPr>
            <p:spPr bwMode="auto">
              <a:xfrm>
                <a:off x="4079" y="11425"/>
                <a:ext cx="481" cy="883"/>
              </a:xfrm>
              <a:custGeom>
                <a:avLst/>
                <a:gdLst>
                  <a:gd name="T0" fmla="+- 0 4079 4079"/>
                  <a:gd name="T1" fmla="*/ T0 w 481"/>
                  <a:gd name="T2" fmla="+- 0 11425 11425"/>
                  <a:gd name="T3" fmla="*/ 11425 h 883"/>
                  <a:gd name="T4" fmla="+- 0 4087 4079"/>
                  <a:gd name="T5" fmla="*/ T4 w 481"/>
                  <a:gd name="T6" fmla="+- 0 11832 11425"/>
                  <a:gd name="T7" fmla="*/ 11832 h 883"/>
                  <a:gd name="T8" fmla="+- 0 4184 4079"/>
                  <a:gd name="T9" fmla="*/ T8 w 481"/>
                  <a:gd name="T10" fmla="+- 0 11686 11425"/>
                  <a:gd name="T11" fmla="*/ 11686 h 883"/>
                  <a:gd name="T12" fmla="+- 0 4322 4079"/>
                  <a:gd name="T13" fmla="*/ T12 w 481"/>
                  <a:gd name="T14" fmla="+- 0 11686 11425"/>
                  <a:gd name="T15" fmla="*/ 11686 h 883"/>
                  <a:gd name="T16" fmla="+- 0 4397 4079"/>
                  <a:gd name="T17" fmla="*/ T16 w 481"/>
                  <a:gd name="T18" fmla="+- 0 11647 11425"/>
                  <a:gd name="T19" fmla="*/ 11647 h 883"/>
                  <a:gd name="T20" fmla="+- 0 4079 4079"/>
                  <a:gd name="T21" fmla="*/ T20 w 481"/>
                  <a:gd name="T22" fmla="+- 0 11425 11425"/>
                  <a:gd name="T23" fmla="*/ 11425 h 883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  <a:cxn ang="0">
                    <a:pos x="T17" y="T19"/>
                  </a:cxn>
                  <a:cxn ang="0">
                    <a:pos x="T21" y="T23"/>
                  </a:cxn>
                </a:cxnLst>
                <a:rect l="0" t="0" r="r" b="b"/>
                <a:pathLst>
                  <a:path w="481" h="883">
                    <a:moveTo>
                      <a:pt x="0" y="0"/>
                    </a:moveTo>
                    <a:lnTo>
                      <a:pt x="8" y="407"/>
                    </a:lnTo>
                    <a:lnTo>
                      <a:pt x="105" y="261"/>
                    </a:lnTo>
                    <a:lnTo>
                      <a:pt x="243" y="261"/>
                    </a:lnTo>
                    <a:lnTo>
                      <a:pt x="318" y="22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it-IT"/>
              </a:p>
            </p:txBody>
          </p:sp>
        </p:grpSp>
        <p:grpSp>
          <p:nvGrpSpPr>
            <p:cNvPr id="16" name="Group 9"/>
            <p:cNvGrpSpPr>
              <a:grpSpLocks/>
            </p:cNvGrpSpPr>
            <p:nvPr/>
          </p:nvGrpSpPr>
          <p:grpSpPr bwMode="auto">
            <a:xfrm>
              <a:off x="4444" y="12172"/>
              <a:ext cx="475" cy="515"/>
              <a:chOff x="4444" y="12172"/>
              <a:chExt cx="475" cy="515"/>
            </a:xfrm>
          </p:grpSpPr>
          <p:sp>
            <p:nvSpPr>
              <p:cNvPr id="17" name="Freeform 11"/>
              <p:cNvSpPr>
                <a:spLocks/>
              </p:cNvSpPr>
              <p:nvPr/>
            </p:nvSpPr>
            <p:spPr bwMode="auto">
              <a:xfrm>
                <a:off x="4444" y="12172"/>
                <a:ext cx="475" cy="515"/>
              </a:xfrm>
              <a:custGeom>
                <a:avLst/>
                <a:gdLst>
                  <a:gd name="T0" fmla="+- 0 4519 4444"/>
                  <a:gd name="T1" fmla="*/ T0 w 475"/>
                  <a:gd name="T2" fmla="+- 0 12172 12172"/>
                  <a:gd name="T3" fmla="*/ 12172 h 515"/>
                  <a:gd name="T4" fmla="+- 0 4444 4444"/>
                  <a:gd name="T5" fmla="*/ T4 w 475"/>
                  <a:gd name="T6" fmla="+- 0 12238 12172"/>
                  <a:gd name="T7" fmla="*/ 12238 h 515"/>
                  <a:gd name="T8" fmla="+- 0 4812 4444"/>
                  <a:gd name="T9" fmla="*/ T8 w 475"/>
                  <a:gd name="T10" fmla="+- 0 12588 12172"/>
                  <a:gd name="T11" fmla="*/ 12588 h 515"/>
                  <a:gd name="T12" fmla="+- 0 4660 4444"/>
                  <a:gd name="T13" fmla="*/ T12 w 475"/>
                  <a:gd name="T14" fmla="+- 0 12631 12172"/>
                  <a:gd name="T15" fmla="*/ 12631 h 515"/>
                  <a:gd name="T16" fmla="+- 0 4919 4444"/>
                  <a:gd name="T17" fmla="*/ T16 w 475"/>
                  <a:gd name="T18" fmla="+- 0 12686 12172"/>
                  <a:gd name="T19" fmla="*/ 12686 h 515"/>
                  <a:gd name="T20" fmla="+- 0 4899 4444"/>
                  <a:gd name="T21" fmla="*/ T20 w 475"/>
                  <a:gd name="T22" fmla="+- 0 12545 12172"/>
                  <a:gd name="T23" fmla="*/ 12545 h 515"/>
                  <a:gd name="T24" fmla="+- 0 4832 4444"/>
                  <a:gd name="T25" fmla="*/ T24 w 475"/>
                  <a:gd name="T26" fmla="+- 0 12545 12172"/>
                  <a:gd name="T27" fmla="*/ 12545 h 515"/>
                  <a:gd name="T28" fmla="+- 0 4519 4444"/>
                  <a:gd name="T29" fmla="*/ T28 w 475"/>
                  <a:gd name="T30" fmla="+- 0 12172 12172"/>
                  <a:gd name="T31" fmla="*/ 12172 h 515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  <a:cxn ang="0">
                    <a:pos x="T17" y="T19"/>
                  </a:cxn>
                  <a:cxn ang="0">
                    <a:pos x="T21" y="T23"/>
                  </a:cxn>
                  <a:cxn ang="0">
                    <a:pos x="T25" y="T27"/>
                  </a:cxn>
                  <a:cxn ang="0">
                    <a:pos x="T29" y="T31"/>
                  </a:cxn>
                </a:cxnLst>
                <a:rect l="0" t="0" r="r" b="b"/>
                <a:pathLst>
                  <a:path w="475" h="515">
                    <a:moveTo>
                      <a:pt x="75" y="0"/>
                    </a:moveTo>
                    <a:lnTo>
                      <a:pt x="0" y="66"/>
                    </a:lnTo>
                    <a:lnTo>
                      <a:pt x="368" y="416"/>
                    </a:lnTo>
                    <a:lnTo>
                      <a:pt x="216" y="459"/>
                    </a:lnTo>
                    <a:lnTo>
                      <a:pt x="475" y="514"/>
                    </a:lnTo>
                    <a:lnTo>
                      <a:pt x="455" y="373"/>
                    </a:lnTo>
                    <a:lnTo>
                      <a:pt x="388" y="373"/>
                    </a:lnTo>
                    <a:lnTo>
                      <a:pt x="75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it-IT"/>
              </a:p>
            </p:txBody>
          </p:sp>
          <p:sp>
            <p:nvSpPr>
              <p:cNvPr id="18" name="Freeform 10"/>
              <p:cNvSpPr>
                <a:spLocks/>
              </p:cNvSpPr>
              <p:nvPr/>
            </p:nvSpPr>
            <p:spPr bwMode="auto">
              <a:xfrm>
                <a:off x="4444" y="12172"/>
                <a:ext cx="475" cy="515"/>
              </a:xfrm>
              <a:custGeom>
                <a:avLst/>
                <a:gdLst>
                  <a:gd name="T0" fmla="+- 0 4876 4444"/>
                  <a:gd name="T1" fmla="*/ T0 w 475"/>
                  <a:gd name="T2" fmla="+- 0 12370 12172"/>
                  <a:gd name="T3" fmla="*/ 12370 h 515"/>
                  <a:gd name="T4" fmla="+- 0 4832 4444"/>
                  <a:gd name="T5" fmla="*/ T4 w 475"/>
                  <a:gd name="T6" fmla="+- 0 12545 12172"/>
                  <a:gd name="T7" fmla="*/ 12545 h 515"/>
                  <a:gd name="T8" fmla="+- 0 4899 4444"/>
                  <a:gd name="T9" fmla="*/ T8 w 475"/>
                  <a:gd name="T10" fmla="+- 0 12545 12172"/>
                  <a:gd name="T11" fmla="*/ 12545 h 515"/>
                  <a:gd name="T12" fmla="+- 0 4876 4444"/>
                  <a:gd name="T13" fmla="*/ T12 w 475"/>
                  <a:gd name="T14" fmla="+- 0 12370 12172"/>
                  <a:gd name="T15" fmla="*/ 12370 h 515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475" h="515">
                    <a:moveTo>
                      <a:pt x="432" y="198"/>
                    </a:moveTo>
                    <a:lnTo>
                      <a:pt x="388" y="373"/>
                    </a:lnTo>
                    <a:lnTo>
                      <a:pt x="455" y="373"/>
                    </a:lnTo>
                    <a:lnTo>
                      <a:pt x="432" y="19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it-IT"/>
              </a:p>
            </p:txBody>
          </p:sp>
        </p:grpSp>
      </p:grpSp>
      <p:sp>
        <p:nvSpPr>
          <p:cNvPr id="31" name="Freeform 33"/>
          <p:cNvSpPr>
            <a:spLocks/>
          </p:cNvSpPr>
          <p:nvPr/>
        </p:nvSpPr>
        <p:spPr bwMode="auto">
          <a:xfrm>
            <a:off x="6549840" y="3111053"/>
            <a:ext cx="259374" cy="297663"/>
          </a:xfrm>
          <a:custGeom>
            <a:avLst/>
            <a:gdLst>
              <a:gd name="T0" fmla="+- 0 3070 2828"/>
              <a:gd name="T1" fmla="*/ T0 w 583"/>
              <a:gd name="T2" fmla="+- 0 11806 11806"/>
              <a:gd name="T3" fmla="*/ 11806 h 683"/>
              <a:gd name="T4" fmla="+- 0 2972 2828"/>
              <a:gd name="T5" fmla="*/ T4 w 583"/>
              <a:gd name="T6" fmla="+- 0 11806 11806"/>
              <a:gd name="T7" fmla="*/ 11806 h 683"/>
              <a:gd name="T8" fmla="+- 0 2885 2828"/>
              <a:gd name="T9" fmla="*/ T8 w 583"/>
              <a:gd name="T10" fmla="+- 0 11845 11806"/>
              <a:gd name="T11" fmla="*/ 11845 h 683"/>
              <a:gd name="T12" fmla="+- 0 2852 2828"/>
              <a:gd name="T13" fmla="*/ T12 w 583"/>
              <a:gd name="T14" fmla="+- 0 11896 11806"/>
              <a:gd name="T15" fmla="*/ 11896 h 683"/>
              <a:gd name="T16" fmla="+- 0 2828 2828"/>
              <a:gd name="T17" fmla="*/ T16 w 583"/>
              <a:gd name="T18" fmla="+- 0 11970 11806"/>
              <a:gd name="T19" fmla="*/ 11970 h 683"/>
              <a:gd name="T20" fmla="+- 0 2836 2828"/>
              <a:gd name="T21" fmla="*/ T20 w 583"/>
              <a:gd name="T22" fmla="+- 0 12126 11806"/>
              <a:gd name="T23" fmla="*/ 12126 h 683"/>
              <a:gd name="T24" fmla="+- 0 2878 2828"/>
              <a:gd name="T25" fmla="*/ T24 w 583"/>
              <a:gd name="T26" fmla="+- 0 12241 11806"/>
              <a:gd name="T27" fmla="*/ 12241 h 683"/>
              <a:gd name="T28" fmla="+- 0 2933 2828"/>
              <a:gd name="T29" fmla="*/ T28 w 583"/>
              <a:gd name="T30" fmla="+- 0 12366 11806"/>
              <a:gd name="T31" fmla="*/ 12366 h 683"/>
              <a:gd name="T32" fmla="+- 0 2995 2828"/>
              <a:gd name="T33" fmla="*/ T32 w 583"/>
              <a:gd name="T34" fmla="+- 0 12449 11806"/>
              <a:gd name="T35" fmla="*/ 12449 h 683"/>
              <a:gd name="T36" fmla="+- 0 3092 2828"/>
              <a:gd name="T37" fmla="*/ T36 w 583"/>
              <a:gd name="T38" fmla="+- 0 12488 11806"/>
              <a:gd name="T39" fmla="*/ 12488 h 683"/>
              <a:gd name="T40" fmla="+- 0 3164 2828"/>
              <a:gd name="T41" fmla="*/ T40 w 583"/>
              <a:gd name="T42" fmla="+- 0 12488 11806"/>
              <a:gd name="T43" fmla="*/ 12488 h 683"/>
              <a:gd name="T44" fmla="+- 0 3220 2828"/>
              <a:gd name="T45" fmla="*/ T44 w 583"/>
              <a:gd name="T46" fmla="+- 0 12449 11806"/>
              <a:gd name="T47" fmla="*/ 12449 h 683"/>
              <a:gd name="T48" fmla="+- 0 3259 2828"/>
              <a:gd name="T49" fmla="*/ T48 w 583"/>
              <a:gd name="T50" fmla="+- 0 12373 11806"/>
              <a:gd name="T51" fmla="*/ 12373 h 683"/>
              <a:gd name="T52" fmla="+- 0 3284 2828"/>
              <a:gd name="T53" fmla="*/ T52 w 583"/>
              <a:gd name="T54" fmla="+- 0 12274 11806"/>
              <a:gd name="T55" fmla="*/ 12274 h 683"/>
              <a:gd name="T56" fmla="+- 0 3284 2828"/>
              <a:gd name="T57" fmla="*/ T56 w 583"/>
              <a:gd name="T58" fmla="+- 0 12175 11806"/>
              <a:gd name="T59" fmla="*/ 12175 h 683"/>
              <a:gd name="T60" fmla="+- 0 3373 2828"/>
              <a:gd name="T61" fmla="*/ T60 w 583"/>
              <a:gd name="T62" fmla="+- 0 12078 11806"/>
              <a:gd name="T63" fmla="*/ 12078 h 683"/>
              <a:gd name="T64" fmla="+- 0 3284 2828"/>
              <a:gd name="T65" fmla="*/ T64 w 583"/>
              <a:gd name="T66" fmla="+- 0 12078 11806"/>
              <a:gd name="T67" fmla="*/ 12078 h 683"/>
              <a:gd name="T68" fmla="+- 0 3259 2828"/>
              <a:gd name="T69" fmla="*/ T68 w 583"/>
              <a:gd name="T70" fmla="+- 0 12002 11806"/>
              <a:gd name="T71" fmla="*/ 12002 h 683"/>
              <a:gd name="T72" fmla="+- 0 3220 2828"/>
              <a:gd name="T73" fmla="*/ T72 w 583"/>
              <a:gd name="T74" fmla="+- 0 11880 11806"/>
              <a:gd name="T75" fmla="*/ 11880 h 683"/>
              <a:gd name="T76" fmla="+- 0 3164 2828"/>
              <a:gd name="T77" fmla="*/ T76 w 583"/>
              <a:gd name="T78" fmla="+- 0 11845 11806"/>
              <a:gd name="T79" fmla="*/ 11845 h 683"/>
              <a:gd name="T80" fmla="+- 0 3070 2828"/>
              <a:gd name="T81" fmla="*/ T80 w 583"/>
              <a:gd name="T82" fmla="+- 0 11806 11806"/>
              <a:gd name="T83" fmla="*/ 11806 h 683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  <a:cxn ang="0">
                <a:pos x="T17" y="T19"/>
              </a:cxn>
              <a:cxn ang="0">
                <a:pos x="T21" y="T23"/>
              </a:cxn>
              <a:cxn ang="0">
                <a:pos x="T25" y="T27"/>
              </a:cxn>
              <a:cxn ang="0">
                <a:pos x="T29" y="T31"/>
              </a:cxn>
              <a:cxn ang="0">
                <a:pos x="T33" y="T35"/>
              </a:cxn>
              <a:cxn ang="0">
                <a:pos x="T37" y="T39"/>
              </a:cxn>
              <a:cxn ang="0">
                <a:pos x="T41" y="T43"/>
              </a:cxn>
              <a:cxn ang="0">
                <a:pos x="T45" y="T47"/>
              </a:cxn>
              <a:cxn ang="0">
                <a:pos x="T49" y="T51"/>
              </a:cxn>
              <a:cxn ang="0">
                <a:pos x="T53" y="T55"/>
              </a:cxn>
              <a:cxn ang="0">
                <a:pos x="T57" y="T59"/>
              </a:cxn>
              <a:cxn ang="0">
                <a:pos x="T61" y="T63"/>
              </a:cxn>
              <a:cxn ang="0">
                <a:pos x="T65" y="T67"/>
              </a:cxn>
              <a:cxn ang="0">
                <a:pos x="T69" y="T71"/>
              </a:cxn>
              <a:cxn ang="0">
                <a:pos x="T73" y="T75"/>
              </a:cxn>
              <a:cxn ang="0">
                <a:pos x="T77" y="T79"/>
              </a:cxn>
              <a:cxn ang="0">
                <a:pos x="T81" y="T83"/>
              </a:cxn>
            </a:cxnLst>
            <a:rect l="0" t="0" r="r" b="b"/>
            <a:pathLst>
              <a:path w="583" h="683">
                <a:moveTo>
                  <a:pt x="242" y="0"/>
                </a:moveTo>
                <a:lnTo>
                  <a:pt x="144" y="0"/>
                </a:lnTo>
                <a:lnTo>
                  <a:pt x="57" y="39"/>
                </a:lnTo>
                <a:lnTo>
                  <a:pt x="24" y="90"/>
                </a:lnTo>
                <a:lnTo>
                  <a:pt x="0" y="164"/>
                </a:lnTo>
                <a:lnTo>
                  <a:pt x="8" y="320"/>
                </a:lnTo>
                <a:lnTo>
                  <a:pt x="50" y="435"/>
                </a:lnTo>
                <a:lnTo>
                  <a:pt x="105" y="560"/>
                </a:lnTo>
                <a:lnTo>
                  <a:pt x="167" y="643"/>
                </a:lnTo>
                <a:lnTo>
                  <a:pt x="264" y="682"/>
                </a:lnTo>
                <a:lnTo>
                  <a:pt x="336" y="682"/>
                </a:lnTo>
                <a:lnTo>
                  <a:pt x="392" y="643"/>
                </a:lnTo>
                <a:lnTo>
                  <a:pt x="431" y="567"/>
                </a:lnTo>
                <a:lnTo>
                  <a:pt x="456" y="468"/>
                </a:lnTo>
                <a:lnTo>
                  <a:pt x="456" y="369"/>
                </a:lnTo>
                <a:lnTo>
                  <a:pt x="545" y="272"/>
                </a:lnTo>
                <a:lnTo>
                  <a:pt x="456" y="272"/>
                </a:lnTo>
                <a:lnTo>
                  <a:pt x="431" y="196"/>
                </a:lnTo>
                <a:lnTo>
                  <a:pt x="392" y="74"/>
                </a:lnTo>
                <a:lnTo>
                  <a:pt x="336" y="39"/>
                </a:lnTo>
                <a:lnTo>
                  <a:pt x="242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/>
          </a:p>
        </p:txBody>
      </p:sp>
      <p:pic>
        <p:nvPicPr>
          <p:cNvPr id="33" name="Immagine 32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6038" y="3939076"/>
            <a:ext cx="531395" cy="50777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C:\Users\minini\AppData\Local\Microsoft\Windows\Temporary Internet Files\Content.IE5\UT5Y2BYG\MC900297141[1].wmf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27078" y="1646140"/>
            <a:ext cx="2979367" cy="1996216"/>
          </a:xfrm>
          <a:prstGeom prst="rect">
            <a:avLst/>
          </a:prstGeom>
          <a:ln w="38100"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sp>
        <p:nvSpPr>
          <p:cNvPr id="20491" name="Rectangle 3"/>
          <p:cNvSpPr>
            <a:spLocks noChangeArrowheads="1"/>
          </p:cNvSpPr>
          <p:nvPr/>
        </p:nvSpPr>
        <p:spPr bwMode="auto">
          <a:xfrm>
            <a:off x="490080" y="1306442"/>
            <a:ext cx="4625408" cy="25527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>
              <a:buClr>
                <a:srgbClr val="92D050"/>
              </a:buClr>
            </a:pPr>
            <a:r>
              <a:rPr lang="it-IT" altLang="it-IT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Premessa</a:t>
            </a:r>
            <a:endParaRPr lang="it-IT" altLang="it-IT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Wingdings" pitchFamily="2" charset="2"/>
            </a:endParaRPr>
          </a:p>
          <a:p>
            <a:pPr algn="just" eaLnBrk="1" hangingPunct="1">
              <a:buClr>
                <a:srgbClr val="92D050"/>
              </a:buClr>
            </a:pPr>
            <a:endParaRPr lang="it-IT" altLang="it-IT" dirty="0">
              <a:sym typeface="Wingdings" pitchFamily="2" charset="2"/>
            </a:endParaRPr>
          </a:p>
          <a:p>
            <a:pPr algn="just" eaLnBrk="1" hangingPunct="1">
              <a:buClr>
                <a:srgbClr val="92D050"/>
              </a:buClr>
            </a:pPr>
            <a:r>
              <a:rPr lang="it-IT" altLang="it-IT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Il </a:t>
            </a:r>
            <a:r>
              <a:rPr lang="it-IT" altLang="it-IT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presente documento ha lo scopo di fornire informazioni ai «business </a:t>
            </a:r>
            <a:r>
              <a:rPr lang="it-IT" altLang="it-IT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partners</a:t>
            </a:r>
            <a:r>
              <a:rPr lang="it-IT" altLang="it-IT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» della Società in merito ai principi generali del D.Lgs.231/01, al comportamento da adottarsi in conseguenza alla sua emanazione e ai provvedimenti presi da </a:t>
            </a:r>
            <a:r>
              <a:rPr lang="it-IT" altLang="it-IT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Janssen</a:t>
            </a:r>
            <a:r>
              <a:rPr lang="it-IT" altLang="it-IT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 </a:t>
            </a:r>
            <a:r>
              <a:rPr lang="it-IT" altLang="it-IT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Cilag</a:t>
            </a:r>
            <a:r>
              <a:rPr lang="it-IT" altLang="it-IT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 Spa per conformarsi al dettato legislativo.</a:t>
            </a:r>
          </a:p>
        </p:txBody>
      </p:sp>
    </p:spTree>
    <p:extLst>
      <p:ext uri="{BB962C8B-B14F-4D97-AF65-F5344CB8AC3E}">
        <p14:creationId xmlns:p14="http://schemas.microsoft.com/office/powerpoint/2010/main" val="66412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5" name="Rectangle 4"/>
          <p:cNvSpPr>
            <a:spLocks noChangeArrowheads="1"/>
          </p:cNvSpPr>
          <p:nvPr/>
        </p:nvSpPr>
        <p:spPr bwMode="auto">
          <a:xfrm>
            <a:off x="143134" y="403411"/>
            <a:ext cx="8147752" cy="1918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>
              <a:spcBef>
                <a:spcPct val="20000"/>
              </a:spcBef>
            </a:pPr>
            <a:r>
              <a:rPr lang="it-IT" altLang="it-IT" b="1" dirty="0">
                <a:cs typeface="Arial" charset="0"/>
              </a:rPr>
              <a:t>	</a:t>
            </a:r>
            <a:r>
              <a:rPr lang="it-IT" altLang="it-IT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 data 8 giugno 2001 è stato emanato il Decreto Legislativo n. 231 dal titolo «</a:t>
            </a:r>
            <a:r>
              <a:rPr lang="it-IT" altLang="it-IT" b="1" i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ciplina della responsabilità amministrativa delle persone giuridiche, delle società e delle associazioni anche prive di personalità giuridica</a:t>
            </a:r>
            <a:r>
              <a:rPr lang="it-IT" altLang="it-IT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.</a:t>
            </a:r>
          </a:p>
          <a:p>
            <a:pPr algn="just" eaLnBrk="1" hangingPunct="1">
              <a:spcBef>
                <a:spcPct val="20000"/>
              </a:spcBef>
            </a:pPr>
            <a:r>
              <a:rPr lang="it-IT" altLang="it-IT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	Il D. </a:t>
            </a:r>
            <a:r>
              <a:rPr lang="it-IT" altLang="it-IT" b="1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gs</a:t>
            </a:r>
            <a:r>
              <a:rPr lang="it-IT" altLang="it-IT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n. 231/01 ha introdotto la </a:t>
            </a:r>
            <a:r>
              <a:rPr lang="it-IT" altLang="it-IT" b="1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sponsabilità amministrativa degli enti</a:t>
            </a:r>
            <a:r>
              <a:rPr lang="it-IT" altLang="it-IT" b="1" dirty="0">
                <a:solidFill>
                  <a:srgbClr val="6600C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it-IT" altLang="it-IT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Società, Associazioni, ecc.)</a:t>
            </a:r>
            <a:r>
              <a:rPr lang="it-IT" altLang="it-IT" b="1" dirty="0">
                <a:solidFill>
                  <a:srgbClr val="6600C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it-IT" altLang="it-IT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r reati commessi nell’interesse o a vantaggio degli </a:t>
            </a:r>
            <a:r>
              <a:rPr lang="it-IT" altLang="it-IT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essi:</a:t>
            </a:r>
            <a:r>
              <a:rPr lang="it-IT" altLang="it-IT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</a:p>
          <a:p>
            <a:pPr eaLnBrk="1" hangingPunct="1">
              <a:spcBef>
                <a:spcPct val="20000"/>
              </a:spcBef>
            </a:pPr>
            <a:endParaRPr lang="en-US" altLang="it-IT" b="1" dirty="0">
              <a:cs typeface="Arial" charset="0"/>
            </a:endParaRPr>
          </a:p>
        </p:txBody>
      </p:sp>
      <p:sp>
        <p:nvSpPr>
          <p:cNvPr id="12" name="Freccia a destra con strisce 11"/>
          <p:cNvSpPr/>
          <p:nvPr/>
        </p:nvSpPr>
        <p:spPr>
          <a:xfrm rot="5400000">
            <a:off x="3925400" y="2676877"/>
            <a:ext cx="1260277" cy="910147"/>
          </a:xfrm>
          <a:prstGeom prst="stripedRightArrow">
            <a:avLst>
              <a:gd name="adj1" fmla="val 51965"/>
              <a:gd name="adj2" fmla="val 58205"/>
            </a:avLst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endParaRPr lang="it-IT" dirty="0"/>
          </a:p>
        </p:txBody>
      </p:sp>
      <p:sp>
        <p:nvSpPr>
          <p:cNvPr id="13" name="Text Box 4"/>
          <p:cNvSpPr txBox="1">
            <a:spLocks noChangeArrowheads="1"/>
          </p:cNvSpPr>
          <p:nvPr/>
        </p:nvSpPr>
        <p:spPr bwMode="auto">
          <a:xfrm>
            <a:off x="468313" y="3810770"/>
            <a:ext cx="7993062" cy="1815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622300" algn="l"/>
              </a:tabLst>
              <a:defRPr>
                <a:solidFill>
                  <a:schemeClr val="tx1"/>
                </a:solidFill>
                <a:latin typeface="Arial" charset="0"/>
              </a:defRPr>
            </a:lvl1pPr>
            <a:lvl2pPr indent="165100" eaLnBrk="0" hangingPunct="0">
              <a:tabLst>
                <a:tab pos="622300" algn="l"/>
              </a:tabLst>
              <a:defRPr>
                <a:solidFill>
                  <a:schemeClr val="tx1"/>
                </a:solidFill>
                <a:latin typeface="Arial" charset="0"/>
              </a:defRPr>
            </a:lvl2pPr>
            <a:lvl3pPr marL="1168400" indent="177800" eaLnBrk="0" hangingPunct="0">
              <a:tabLst>
                <a:tab pos="622300" algn="l"/>
              </a:tabLst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tabLst>
                <a:tab pos="622300" algn="l"/>
              </a:tabLst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tabLst>
                <a:tab pos="622300" algn="l"/>
              </a:tabLst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622300" algn="l"/>
              </a:tabLs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622300" algn="l"/>
              </a:tabLs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622300" algn="l"/>
              </a:tabLs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622300" algn="l"/>
              </a:tabLs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buClr>
                <a:schemeClr val="accent1"/>
              </a:buClr>
            </a:pPr>
            <a:endParaRPr lang="it-IT" altLang="it-IT" sz="1600" dirty="0"/>
          </a:p>
          <a:p>
            <a:pPr lvl="1" eaLnBrk="1" hangingPunct="1">
              <a:buClr>
                <a:schemeClr val="accent1"/>
              </a:buClr>
              <a:buSzPct val="100000"/>
              <a:buFont typeface="Wingdings" pitchFamily="2" charset="2"/>
              <a:buChar char="ü"/>
            </a:pPr>
            <a:r>
              <a:rPr lang="it-IT" altLang="it-IT" sz="1600" dirty="0"/>
              <a:t> </a:t>
            </a:r>
            <a:r>
              <a:rPr lang="it-IT" altLang="it-IT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 un soggetto apicale (chi svolge funzioni di rappresentanza, di amministrazione o di direzione dell’ente); </a:t>
            </a:r>
          </a:p>
          <a:p>
            <a:pPr lvl="1" eaLnBrk="1" hangingPunct="1">
              <a:buClr>
                <a:schemeClr val="accent1"/>
              </a:buClr>
              <a:buSzPct val="100000"/>
              <a:buFont typeface="Wingdings" pitchFamily="2" charset="2"/>
              <a:buChar char="ü"/>
            </a:pPr>
            <a:r>
              <a:rPr lang="it-IT" altLang="it-IT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a un soggetto sottoposto alla direzione o vigilanza dei soggetti </a:t>
            </a:r>
            <a:r>
              <a:rPr lang="it-IT" altLang="it-IT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picali</a:t>
            </a:r>
            <a:endParaRPr lang="it-IT" altLang="it-IT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2" eaLnBrk="1" hangingPunct="1">
              <a:buClr>
                <a:srgbClr val="4F6228"/>
              </a:buClr>
            </a:pPr>
            <a:endParaRPr lang="it-IT" altLang="it-IT" sz="1600" dirty="0"/>
          </a:p>
          <a:p>
            <a:pPr eaLnBrk="1" hangingPunct="1">
              <a:buClr>
                <a:srgbClr val="4F6228"/>
              </a:buClr>
            </a:pPr>
            <a:r>
              <a:rPr lang="it-IT" altLang="it-IT" sz="1600" dirty="0"/>
              <a:t>             </a:t>
            </a:r>
          </a:p>
        </p:txBody>
      </p:sp>
    </p:spTree>
    <p:extLst>
      <p:ext uri="{BB962C8B-B14F-4D97-AF65-F5344CB8AC3E}">
        <p14:creationId xmlns:p14="http://schemas.microsoft.com/office/powerpoint/2010/main" val="3667518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8" name="Rettangolo 9"/>
          <p:cNvSpPr>
            <a:spLocks noChangeArrowheads="1"/>
          </p:cNvSpPr>
          <p:nvPr/>
        </p:nvSpPr>
        <p:spPr bwMode="auto">
          <a:xfrm>
            <a:off x="687667" y="467950"/>
            <a:ext cx="7800807" cy="582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/>
            <a:r>
              <a:rPr lang="it-IT" altLang="it-IT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reati la cui commissione può comportare la responsabilità amministrativa a carico degli enti sono – allo stato – i seguenti:</a:t>
            </a:r>
            <a:endParaRPr lang="it-IT" altLang="it-IT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15" name="Diagramma 14"/>
          <p:cNvGraphicFramePr/>
          <p:nvPr>
            <p:extLst>
              <p:ext uri="{D42A27DB-BD31-4B8C-83A1-F6EECF244321}">
                <p14:modId xmlns:p14="http://schemas.microsoft.com/office/powerpoint/2010/main" val="2189932961"/>
              </p:ext>
            </p:extLst>
          </p:nvPr>
        </p:nvGraphicFramePr>
        <p:xfrm>
          <a:off x="-296308" y="1622612"/>
          <a:ext cx="6069050" cy="41376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250" name="CasellaDiTesto 11"/>
          <p:cNvSpPr txBox="1">
            <a:spLocks noChangeArrowheads="1"/>
          </p:cNvSpPr>
          <p:nvPr/>
        </p:nvSpPr>
        <p:spPr bwMode="auto">
          <a:xfrm>
            <a:off x="2928026" y="1547376"/>
            <a:ext cx="5543334" cy="430702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>
              <a:spcAft>
                <a:spcPts val="588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sz="1200" b="1" dirty="0">
                <a:solidFill>
                  <a:srgbClr val="558ED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rruzione tra privati (all’interno dei reati societari)</a:t>
            </a:r>
          </a:p>
          <a:p>
            <a:pPr algn="just" eaLnBrk="1" hangingPunct="1">
              <a:spcAft>
                <a:spcPts val="588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sz="1200" b="1" dirty="0">
                <a:solidFill>
                  <a:srgbClr val="558ED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mpiego di cittadini di paesi terzi il cui soggiorno è irregolare</a:t>
            </a:r>
          </a:p>
          <a:p>
            <a:pPr algn="just" eaLnBrk="1" hangingPunct="1">
              <a:spcAft>
                <a:spcPts val="588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sz="1200" b="1" dirty="0">
                <a:solidFill>
                  <a:srgbClr val="558ED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ati ambientali </a:t>
            </a:r>
          </a:p>
          <a:p>
            <a:pPr algn="just" eaLnBrk="1" hangingPunct="1">
              <a:spcAft>
                <a:spcPts val="588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sz="12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it-IT" altLang="it-IT" sz="1200" b="1" dirty="0">
                <a:solidFill>
                  <a:srgbClr val="558ED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itti contro l’industria e il commercio</a:t>
            </a:r>
          </a:p>
          <a:p>
            <a:pPr algn="just" eaLnBrk="1" hangingPunct="1">
              <a:spcAft>
                <a:spcPts val="588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sz="1200" b="1" dirty="0">
                <a:solidFill>
                  <a:srgbClr val="558ED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elitti in materia di violazione del diritto d’autore</a:t>
            </a:r>
          </a:p>
          <a:p>
            <a:pPr algn="just" eaLnBrk="1" hangingPunct="1">
              <a:spcAft>
                <a:spcPts val="588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sz="1200" b="1" dirty="0">
                <a:solidFill>
                  <a:srgbClr val="558ED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elitti informatici</a:t>
            </a:r>
          </a:p>
          <a:p>
            <a:pPr algn="just" eaLnBrk="1" hangingPunct="1">
              <a:spcAft>
                <a:spcPts val="588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sz="1200" b="1" dirty="0">
                <a:solidFill>
                  <a:srgbClr val="558ED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ati transnazionali</a:t>
            </a:r>
          </a:p>
          <a:p>
            <a:pPr algn="just" eaLnBrk="1" hangingPunct="1">
              <a:spcAft>
                <a:spcPts val="588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sz="1200" b="1" dirty="0">
                <a:solidFill>
                  <a:srgbClr val="558ED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icettazione, riciclaggio e impiego di denaro, beni o utilità di provenienza illecita, nonché </a:t>
            </a:r>
            <a:r>
              <a:rPr lang="it-IT" altLang="it-IT" sz="1200" b="1" dirty="0" err="1">
                <a:solidFill>
                  <a:srgbClr val="558ED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utoriciclaggio</a:t>
            </a:r>
            <a:r>
              <a:rPr lang="it-IT" altLang="it-IT" sz="1200" b="1" dirty="0">
                <a:solidFill>
                  <a:srgbClr val="558ED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algn="just" eaLnBrk="1" hangingPunct="1">
              <a:spcAft>
                <a:spcPts val="588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sz="1200" b="1" dirty="0">
                <a:solidFill>
                  <a:srgbClr val="558ED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ati relativi alla sicurezza e salute sul luogo di lavoro</a:t>
            </a:r>
          </a:p>
          <a:p>
            <a:pPr algn="just" eaLnBrk="1" hangingPunct="1">
              <a:spcAft>
                <a:spcPts val="588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sz="1200" b="1" dirty="0">
                <a:solidFill>
                  <a:srgbClr val="558ED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arket </a:t>
            </a:r>
            <a:r>
              <a:rPr lang="it-IT" altLang="it-IT" sz="1200" b="1" dirty="0" err="1">
                <a:solidFill>
                  <a:srgbClr val="558ED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buse</a:t>
            </a:r>
            <a:endParaRPr lang="it-IT" altLang="it-IT" sz="1200" b="1" dirty="0">
              <a:solidFill>
                <a:srgbClr val="558ED5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 eaLnBrk="1" hangingPunct="1">
              <a:spcAft>
                <a:spcPts val="588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sz="1200" b="1" dirty="0">
                <a:solidFill>
                  <a:srgbClr val="558ED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ati contro la personalità individuale</a:t>
            </a:r>
          </a:p>
          <a:p>
            <a:pPr algn="just" eaLnBrk="1" hangingPunct="1">
              <a:spcAft>
                <a:spcPts val="588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sz="1200" b="1" dirty="0">
                <a:solidFill>
                  <a:srgbClr val="558ED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ati con finalità di terrorismo</a:t>
            </a:r>
          </a:p>
          <a:p>
            <a:pPr algn="just" eaLnBrk="1" hangingPunct="1">
              <a:spcAft>
                <a:spcPts val="588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sz="1200" b="1" dirty="0">
                <a:solidFill>
                  <a:srgbClr val="558ED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ati societari</a:t>
            </a:r>
          </a:p>
          <a:p>
            <a:pPr algn="just" eaLnBrk="1" hangingPunct="1">
              <a:spcAft>
                <a:spcPts val="588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sz="1200" b="1" dirty="0">
                <a:solidFill>
                  <a:srgbClr val="558ED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ati contro la fede pubblica</a:t>
            </a:r>
          </a:p>
          <a:p>
            <a:pPr algn="just" eaLnBrk="1" hangingPunct="1">
              <a:spcAft>
                <a:spcPts val="588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sz="1200" b="1" dirty="0">
                <a:solidFill>
                  <a:srgbClr val="558ED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ati contro la PA</a:t>
            </a:r>
          </a:p>
        </p:txBody>
      </p:sp>
    </p:spTree>
    <p:extLst>
      <p:ext uri="{BB962C8B-B14F-4D97-AF65-F5344CB8AC3E}">
        <p14:creationId xmlns:p14="http://schemas.microsoft.com/office/powerpoint/2010/main" val="343485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Text Box 4"/>
          <p:cNvSpPr txBox="1">
            <a:spLocks noChangeArrowheads="1"/>
          </p:cNvSpPr>
          <p:nvPr/>
        </p:nvSpPr>
        <p:spPr bwMode="auto">
          <a:xfrm>
            <a:off x="1870078" y="591311"/>
            <a:ext cx="6381913" cy="5507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1443038" indent="-282575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/>
            <a:r>
              <a:rPr lang="it-IT" altLang="it-IT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 </a:t>
            </a:r>
            <a:r>
              <a:rPr lang="it-IT" altLang="it-IT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ncipali sanzioni previste </a:t>
            </a:r>
            <a:r>
              <a:rPr lang="it-IT" altLang="it-IT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no </a:t>
            </a:r>
            <a:r>
              <a:rPr lang="it-IT" altLang="it-IT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 tipo</a:t>
            </a:r>
            <a:r>
              <a:rPr lang="it-IT" altLang="it-IT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  <a:endParaRPr lang="it-IT" altLang="it-IT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 eaLnBrk="1" hangingPunct="1">
              <a:buClr>
                <a:srgbClr val="008080"/>
              </a:buClr>
              <a:buSzPct val="120000"/>
            </a:pPr>
            <a:endParaRPr lang="it-IT" altLang="it-IT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 eaLnBrk="1" hangingPunct="1">
              <a:buClr>
                <a:srgbClr val="008080"/>
              </a:buClr>
              <a:buSzPct val="120000"/>
            </a:pPr>
            <a:endParaRPr lang="it-IT" altLang="it-IT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 eaLnBrk="1" hangingPunct="1">
              <a:buClr>
                <a:srgbClr val="008080"/>
              </a:buClr>
              <a:buSzPct val="120000"/>
            </a:pPr>
            <a:r>
              <a:rPr lang="it-IT" altLang="it-IT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cuniario</a:t>
            </a:r>
            <a:r>
              <a:rPr lang="it-IT" altLang="it-IT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pena sino a € 1.549.370;</a:t>
            </a:r>
          </a:p>
          <a:p>
            <a:pPr algn="just" eaLnBrk="1" hangingPunct="1">
              <a:buClr>
                <a:srgbClr val="008080"/>
              </a:buClr>
              <a:buSzPct val="120000"/>
            </a:pPr>
            <a:endParaRPr lang="it-IT" altLang="it-IT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 eaLnBrk="1" hangingPunct="1">
              <a:buClr>
                <a:srgbClr val="008080"/>
              </a:buClr>
              <a:buSzPct val="120000"/>
            </a:pPr>
            <a:endParaRPr lang="it-IT" altLang="it-IT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 eaLnBrk="1" hangingPunct="1">
              <a:buClr>
                <a:srgbClr val="008080"/>
              </a:buClr>
              <a:buSzPct val="120000"/>
            </a:pPr>
            <a:r>
              <a:rPr lang="it-IT" altLang="it-IT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rdittivo</a:t>
            </a:r>
            <a:r>
              <a:rPr lang="it-IT" altLang="it-IT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  <a:endParaRPr lang="it-IT" altLang="it-IT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algn="just" eaLnBrk="1" hangingPunct="1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b="1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it-IT" altLang="it-IT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rdizione dall’esercizio dell’attività;</a:t>
            </a:r>
          </a:p>
          <a:p>
            <a:pPr lvl="1" algn="just" eaLnBrk="1" hangingPunct="1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ospensione o revoca delle autorizzazioni, licenze o concessioni funzionali alla commissione dell’illecito;</a:t>
            </a:r>
          </a:p>
          <a:p>
            <a:pPr lvl="1" algn="just" eaLnBrk="1" hangingPunct="1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ivieto di contrattare con la Pubblica Amministrazione;</a:t>
            </a:r>
          </a:p>
          <a:p>
            <a:pPr lvl="1" algn="just" eaLnBrk="1" hangingPunct="1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sclusione da agevolazioni, finanziamenti, contributi e sussidi e l’eventuale revoca di quelli già concessi;</a:t>
            </a:r>
          </a:p>
          <a:p>
            <a:pPr lvl="1" algn="just" eaLnBrk="1" hangingPunct="1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ivieto di pubblicizzare beni o servizi.</a:t>
            </a:r>
          </a:p>
        </p:txBody>
      </p:sp>
      <p:pic>
        <p:nvPicPr>
          <p:cNvPr id="8196" name="Picture 11" descr="C:\Documents and Settings\minini\Impostazioni locali\Temporary Internet Files\Content.IE5\EG5759G3\MCj04339640000[1]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365" y="1132836"/>
            <a:ext cx="770123" cy="770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8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88365" y="3144545"/>
            <a:ext cx="770123" cy="770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58321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4"/>
          <p:cNvSpPr txBox="1">
            <a:spLocks noChangeArrowheads="1"/>
          </p:cNvSpPr>
          <p:nvPr/>
        </p:nvSpPr>
        <p:spPr bwMode="auto">
          <a:xfrm>
            <a:off x="611188" y="865270"/>
            <a:ext cx="7848600" cy="4450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2857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>
              <a:lnSpc>
                <a:spcPct val="90000"/>
              </a:lnSpc>
              <a:spcAft>
                <a:spcPct val="40000"/>
              </a:spcAft>
              <a:buFont typeface="Wingdings" pitchFamily="2" charset="2"/>
              <a:buNone/>
            </a:pPr>
            <a:r>
              <a:rPr lang="it-IT" altLang="it-IT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responsabilità dell’ente è </a:t>
            </a:r>
            <a:r>
              <a:rPr lang="it-IT" altLang="it-IT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clusa</a:t>
            </a:r>
            <a:r>
              <a:rPr lang="it-IT" altLang="it-IT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nel caso in cui ricorrono tutti i seguenti presupposti:</a:t>
            </a:r>
            <a:endParaRPr lang="it-IT" altLang="it-IT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 eaLnBrk="1" hangingPunct="1">
              <a:spcAft>
                <a:spcPct val="40000"/>
              </a:spcAft>
              <a:buFont typeface="Wingdings" pitchFamily="2" charset="2"/>
              <a:buNone/>
            </a:pPr>
            <a:endParaRPr lang="it-IT" altLang="it-IT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algn="just" eaLnBrk="1" hangingPunct="1">
              <a:lnSpc>
                <a:spcPct val="90000"/>
              </a:lnSpc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’ente ha adottato </a:t>
            </a:r>
            <a:r>
              <a:rPr lang="it-IT" altLang="it-IT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d efficacemente attuato </a:t>
            </a:r>
            <a:r>
              <a:rPr lang="it-IT" altLang="it-IT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 Modello di organizzazione </a:t>
            </a:r>
            <a:r>
              <a:rPr lang="it-IT" altLang="it-IT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 di gestione </a:t>
            </a:r>
            <a:r>
              <a:rPr lang="it-IT" altLang="it-IT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«</a:t>
            </a:r>
            <a:r>
              <a:rPr lang="it-IT" altLang="it-IT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ello</a:t>
            </a:r>
            <a:r>
              <a:rPr lang="it-IT" altLang="it-IT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) idoneo </a:t>
            </a:r>
            <a:r>
              <a:rPr lang="it-IT" altLang="it-IT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 individuare e prevenire </a:t>
            </a:r>
            <a:r>
              <a:rPr lang="it-IT" altLang="it-IT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reati previsti dal D.Ldg.231/01;</a:t>
            </a:r>
            <a:endParaRPr lang="it-IT" altLang="it-IT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algn="just" eaLnBrk="1" hangingPunct="1">
              <a:lnSpc>
                <a:spcPct val="90000"/>
              </a:lnSpc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§"/>
            </a:pPr>
            <a:endParaRPr lang="it-IT" altLang="it-IT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algn="just" eaLnBrk="1" hangingPunct="1">
              <a:lnSpc>
                <a:spcPct val="90000"/>
              </a:lnSpc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 compito di vigilare sul </a:t>
            </a:r>
            <a:r>
              <a:rPr lang="it-IT" altLang="it-IT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nzionamento e l’osservanza </a:t>
            </a:r>
            <a:r>
              <a:rPr lang="it-IT" altLang="it-IT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 Modello è stato affidato </a:t>
            </a:r>
            <a:r>
              <a:rPr lang="it-IT" altLang="it-IT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d un </a:t>
            </a:r>
            <a:r>
              <a:rPr lang="it-IT" altLang="it-IT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ganismo dotato di autonomi poteri di iniziativa e di controllo (Organismo di </a:t>
            </a:r>
            <a:r>
              <a:rPr lang="it-IT" altLang="it-IT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aranzia);</a:t>
            </a:r>
            <a:endParaRPr lang="it-IT" altLang="it-IT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algn="just" eaLnBrk="1" hangingPunct="1">
              <a:lnSpc>
                <a:spcPct val="90000"/>
              </a:lnSpc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§"/>
            </a:pPr>
            <a:endParaRPr lang="it-IT" altLang="it-IT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algn="just" eaLnBrk="1" hangingPunct="1">
              <a:lnSpc>
                <a:spcPct val="90000"/>
              </a:lnSpc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 persone fisiche che hanno commesso i reati hanno agito eludendo fraudolentemente il Modello;</a:t>
            </a:r>
            <a:endParaRPr lang="it-IT" altLang="it-IT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algn="just" eaLnBrk="1" hangingPunct="1">
              <a:lnSpc>
                <a:spcPct val="90000"/>
              </a:lnSpc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§"/>
            </a:pPr>
            <a:endParaRPr lang="it-IT" altLang="it-IT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algn="just" eaLnBrk="1" hangingPunct="1">
              <a:lnSpc>
                <a:spcPct val="90000"/>
              </a:lnSpc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altLang="it-IT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n vi è omessa o insufficiente vigilanza da parte dell’Organismo </a:t>
            </a:r>
            <a:r>
              <a:rPr lang="it-IT" altLang="it-IT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 </a:t>
            </a:r>
            <a:r>
              <a:rPr lang="it-IT" altLang="it-IT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aranzia.</a:t>
            </a:r>
            <a:endParaRPr lang="it-IT" altLang="it-IT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6698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ma 9"/>
          <p:cNvGraphicFramePr/>
          <p:nvPr>
            <p:extLst>
              <p:ext uri="{D42A27DB-BD31-4B8C-83A1-F6EECF244321}">
                <p14:modId xmlns:p14="http://schemas.microsoft.com/office/powerpoint/2010/main" val="1490445136"/>
              </p:ext>
            </p:extLst>
          </p:nvPr>
        </p:nvGraphicFramePr>
        <p:xfrm>
          <a:off x="542796" y="1086915"/>
          <a:ext cx="8082437" cy="47439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220" name="Rettangolo 10"/>
          <p:cNvSpPr>
            <a:spLocks noChangeArrowheads="1"/>
          </p:cNvSpPr>
          <p:nvPr/>
        </p:nvSpPr>
        <p:spPr bwMode="auto">
          <a:xfrm>
            <a:off x="510958" y="519913"/>
            <a:ext cx="5020265" cy="1814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 Modello deve avere il seguente contenuto:</a:t>
            </a:r>
            <a:endParaRPr lang="it-IT" altLang="it-IT" u="sng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eaLnBrk="1" hangingPunct="1"/>
            <a:endParaRPr lang="it-IT" altLang="it-IT" u="sng" dirty="0">
              <a:cs typeface="Arial" charset="0"/>
            </a:endParaRPr>
          </a:p>
          <a:p>
            <a:pPr eaLnBrk="1" hangingPunct="1"/>
            <a:endParaRPr lang="it-IT" altLang="it-IT" u="sng" dirty="0">
              <a:cs typeface="Arial" charset="0"/>
            </a:endParaRPr>
          </a:p>
          <a:p>
            <a:pPr eaLnBrk="1" hangingPunct="1"/>
            <a:endParaRPr lang="it-IT" altLang="it-IT" u="sng" dirty="0">
              <a:cs typeface="Arial" charset="0"/>
            </a:endParaRPr>
          </a:p>
          <a:p>
            <a:pPr eaLnBrk="1" hangingPunct="1"/>
            <a:endParaRPr lang="it-IT" altLang="it-IT" u="sng" dirty="0">
              <a:cs typeface="Arial" charset="0"/>
            </a:endParaRPr>
          </a:p>
          <a:p>
            <a:pPr eaLnBrk="1" hangingPunct="1"/>
            <a:endParaRPr lang="it-IT" altLang="it-IT" u="sng" dirty="0">
              <a:cs typeface="Arial" charset="0"/>
            </a:endParaRPr>
          </a:p>
          <a:p>
            <a:pPr eaLnBrk="1" hangingPunct="1"/>
            <a:endParaRPr lang="it-IT" altLang="it-IT" b="1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5935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458" name="Gruppo 1"/>
          <p:cNvGrpSpPr>
            <a:grpSpLocks/>
          </p:cNvGrpSpPr>
          <p:nvPr/>
        </p:nvGrpSpPr>
        <p:grpSpPr bwMode="auto">
          <a:xfrm>
            <a:off x="511044" y="1383035"/>
            <a:ext cx="7550323" cy="1820127"/>
            <a:chOff x="521454" y="2763853"/>
            <a:chExt cx="7704138" cy="1520693"/>
          </a:xfrm>
        </p:grpSpPr>
        <p:sp>
          <p:nvSpPr>
            <p:cNvPr id="12" name="Rectangle 5"/>
            <p:cNvSpPr>
              <a:spLocks noChangeArrowheads="1"/>
            </p:cNvSpPr>
            <p:nvPr/>
          </p:nvSpPr>
          <p:spPr bwMode="auto">
            <a:xfrm>
              <a:off x="521454" y="3293565"/>
              <a:ext cx="7704138" cy="990981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wrap="none" anchor="ctr"/>
            <a:lstStyle/>
            <a:p>
              <a:pPr marL="336042" indent="-336042" algn="just">
                <a:buFontTx/>
                <a:buAutoNum type="alphaLcParenBoth"/>
                <a:defRPr/>
              </a:pPr>
              <a:r>
                <a:rPr lang="it-IT" sz="1100" b="1" dirty="0" smtClean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è idoneo </a:t>
              </a:r>
              <a:r>
                <a:rPr lang="it-IT" sz="11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 prevenire accadimenti a rischio reato</a:t>
              </a:r>
            </a:p>
            <a:p>
              <a:pPr marL="336042" indent="-336042" algn="just">
                <a:buFontTx/>
                <a:buAutoNum type="alphaLcParenBoth"/>
                <a:defRPr/>
              </a:pPr>
              <a:r>
                <a:rPr lang="it-IT" sz="1100" b="1" dirty="0" smtClean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è approvato formalmente dal Consiglio di Amministrazione</a:t>
              </a:r>
              <a:endParaRPr lang="it-IT" sz="11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336042" indent="-336042" algn="just">
                <a:buFontTx/>
                <a:buAutoNum type="alphaLcParenBoth"/>
                <a:defRPr/>
              </a:pPr>
              <a:r>
                <a:rPr lang="it-IT" sz="1100" b="1" dirty="0" smtClean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troduce un sistema di principi e regole di condotta che ispirano il comportamento </a:t>
              </a:r>
            </a:p>
            <a:p>
              <a:pPr algn="just">
                <a:defRPr/>
              </a:pPr>
              <a:r>
                <a:rPr lang="it-IT" sz="1100" b="1" dirty="0" smtClean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i tutti i soggetti che appartengono alla società nei rapporti con gli interlocutori esterni</a:t>
              </a:r>
              <a:endParaRPr lang="it-IT" sz="11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" name="Rectangle 7"/>
            <p:cNvSpPr>
              <a:spLocks noChangeArrowheads="1"/>
            </p:cNvSpPr>
            <p:nvPr/>
          </p:nvSpPr>
          <p:spPr bwMode="auto">
            <a:xfrm>
              <a:off x="539750" y="2763853"/>
              <a:ext cx="576263" cy="360362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wrap="none" anchor="ctr"/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it-IT" altLang="it-IT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</a:p>
          </p:txBody>
        </p:sp>
        <p:sp>
          <p:nvSpPr>
            <p:cNvPr id="15" name="Rectangle 8"/>
            <p:cNvSpPr>
              <a:spLocks noChangeArrowheads="1"/>
            </p:cNvSpPr>
            <p:nvPr/>
          </p:nvSpPr>
          <p:spPr bwMode="auto">
            <a:xfrm>
              <a:off x="1116013" y="2763853"/>
              <a:ext cx="3384550" cy="360362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wrap="none" anchor="ctr"/>
            <a:lstStyle/>
            <a:p>
              <a:pPr marL="336042" indent="-336042">
                <a:defRPr/>
              </a:pPr>
              <a:r>
                <a:rPr lang="it-IT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Un Modello </a:t>
              </a:r>
              <a:r>
                <a:rPr lang="it-IT" sz="1400" b="1" dirty="0" smtClean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rganizzativo che </a:t>
              </a:r>
              <a:endParaRPr lang="it-IT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9459" name="Text Box 4"/>
          <p:cNvSpPr txBox="1">
            <a:spLocks noChangeArrowheads="1"/>
          </p:cNvSpPr>
          <p:nvPr/>
        </p:nvSpPr>
        <p:spPr bwMode="auto">
          <a:xfrm>
            <a:off x="560090" y="456243"/>
            <a:ext cx="7802364" cy="853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>
              <a:lnSpc>
                <a:spcPct val="90000"/>
              </a:lnSpc>
              <a:spcAft>
                <a:spcPct val="40000"/>
              </a:spcAft>
              <a:buFont typeface="Wingdings" pitchFamily="2" charset="2"/>
              <a:buNone/>
            </a:pPr>
            <a:r>
              <a:rPr lang="it-IT" altLang="it-IT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 fine di garantire condizioni di legalità, correttezza e trasparenza nello svolgimento delle propria attività, </a:t>
            </a:r>
            <a:r>
              <a:rPr lang="it-IT" altLang="it-IT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anssen</a:t>
            </a:r>
            <a:r>
              <a:rPr lang="it-IT" altLang="it-IT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it-IT" altLang="it-IT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ilag</a:t>
            </a:r>
            <a:r>
              <a:rPr lang="it-IT" altLang="it-IT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pa:</a:t>
            </a:r>
          </a:p>
          <a:p>
            <a:pPr algn="just" eaLnBrk="1" hangingPunct="1">
              <a:lnSpc>
                <a:spcPct val="90000"/>
              </a:lnSpc>
              <a:spcAft>
                <a:spcPct val="40000"/>
              </a:spcAft>
              <a:buFont typeface="Wingdings" pitchFamily="2" charset="2"/>
              <a:buNone/>
            </a:pPr>
            <a:r>
              <a:rPr lang="it-IT" altLang="it-IT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 adottato</a:t>
            </a:r>
            <a:r>
              <a:rPr lang="it-IT" altLang="it-IT" sz="1200" dirty="0" smtClean="0"/>
              <a:t>:</a:t>
            </a:r>
            <a:endParaRPr lang="it-IT" altLang="it-IT" sz="1200" dirty="0"/>
          </a:p>
        </p:txBody>
      </p:sp>
      <p:sp>
        <p:nvSpPr>
          <p:cNvPr id="20" name="Freccia a destra con strisce 19"/>
          <p:cNvSpPr/>
          <p:nvPr/>
        </p:nvSpPr>
        <p:spPr>
          <a:xfrm rot="10800000">
            <a:off x="4967076" y="1231652"/>
            <a:ext cx="782617" cy="700112"/>
          </a:xfrm>
          <a:prstGeom prst="stripedRightArrow">
            <a:avLst>
              <a:gd name="adj1" fmla="val 51965"/>
              <a:gd name="adj2" fmla="val 58205"/>
            </a:avLst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endParaRPr lang="it-IT" dirty="0"/>
          </a:p>
        </p:txBody>
      </p:sp>
      <p:grpSp>
        <p:nvGrpSpPr>
          <p:cNvPr id="17" name="Gruppo 1"/>
          <p:cNvGrpSpPr>
            <a:grpSpLocks/>
          </p:cNvGrpSpPr>
          <p:nvPr/>
        </p:nvGrpSpPr>
        <p:grpSpPr bwMode="auto">
          <a:xfrm>
            <a:off x="528969" y="3728735"/>
            <a:ext cx="7550323" cy="1838346"/>
            <a:chOff x="539750" y="4489467"/>
            <a:chExt cx="7704138" cy="1875685"/>
          </a:xfrm>
        </p:grpSpPr>
        <p:sp>
          <p:nvSpPr>
            <p:cNvPr id="18" name="Rectangle 2"/>
            <p:cNvSpPr>
              <a:spLocks noChangeArrowheads="1"/>
            </p:cNvSpPr>
            <p:nvPr/>
          </p:nvSpPr>
          <p:spPr bwMode="auto">
            <a:xfrm>
              <a:off x="539750" y="4489467"/>
              <a:ext cx="576263" cy="430495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wrap="none" anchor="ctr"/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it-IT" altLang="it-IT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</a:p>
          </p:txBody>
        </p:sp>
        <p:sp>
          <p:nvSpPr>
            <p:cNvPr id="19" name="Rectangle 3"/>
            <p:cNvSpPr>
              <a:spLocks noChangeArrowheads="1"/>
            </p:cNvSpPr>
            <p:nvPr/>
          </p:nvSpPr>
          <p:spPr bwMode="auto">
            <a:xfrm>
              <a:off x="1116013" y="4489468"/>
              <a:ext cx="3384550" cy="43049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wrap="none" anchor="ctr"/>
            <a:lstStyle/>
            <a:p>
              <a:pPr marL="336042" indent="-336042">
                <a:defRPr/>
              </a:pPr>
              <a:r>
                <a:rPr lang="it-IT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Un Organismo di </a:t>
              </a:r>
              <a:r>
                <a:rPr lang="it-IT" sz="1400" b="1" dirty="0" smtClean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Garanzia che</a:t>
              </a:r>
              <a:endParaRPr lang="it-IT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2" name="Rectangle 6"/>
            <p:cNvSpPr>
              <a:spLocks noChangeArrowheads="1"/>
            </p:cNvSpPr>
            <p:nvPr/>
          </p:nvSpPr>
          <p:spPr bwMode="auto">
            <a:xfrm>
              <a:off x="539750" y="5149945"/>
              <a:ext cx="7704138" cy="1215207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wrap="none" anchor="ctr"/>
            <a:lstStyle/>
            <a:p>
              <a:pPr marL="336042" indent="-336042" algn="l">
                <a:buFontTx/>
                <a:buAutoNum type="alphaLcParenBoth"/>
                <a:defRPr/>
              </a:pPr>
              <a:r>
                <a:rPr lang="it-IT" sz="1100" b="1" dirty="0" smtClean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è nominato formalmente dal Consiglio di Amministrazione</a:t>
              </a:r>
              <a:endParaRPr lang="it-IT" sz="11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336042" indent="-336042" algn="l">
                <a:buFontTx/>
                <a:buAutoNum type="alphaLcParenBoth"/>
                <a:defRPr/>
              </a:pPr>
              <a:r>
                <a:rPr lang="it-IT" sz="1100" b="1" dirty="0" smtClean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a natura collegiale, è dotato di autonomia, indipendenza, professionalità e continuità </a:t>
              </a:r>
            </a:p>
            <a:p>
              <a:pPr algn="l">
                <a:defRPr/>
              </a:pPr>
              <a:r>
                <a:rPr lang="it-IT" sz="1100" b="1" dirty="0" smtClean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’azione </a:t>
              </a:r>
            </a:p>
            <a:p>
              <a:pPr marL="336042" indent="-336042" algn="just">
                <a:buFontTx/>
                <a:buAutoNum type="alphaLcParenBoth"/>
                <a:defRPr/>
              </a:pPr>
              <a:r>
                <a:rPr lang="it-IT" sz="1100" b="1" dirty="0" smtClean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a la funzione di vigilare sull’osservanza del Modello, valutare la sua idoneità a prevenire</a:t>
              </a:r>
            </a:p>
            <a:p>
              <a:pPr algn="just">
                <a:defRPr/>
              </a:pPr>
              <a:r>
                <a:rPr lang="it-IT" sz="1100" b="1" dirty="0" smtClean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la commissione dei reati, a curarne l’aggiornamento</a:t>
              </a:r>
              <a:endParaRPr lang="it-IT" sz="11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5" name="Text Box 4"/>
          <p:cNvSpPr txBox="1">
            <a:spLocks noChangeArrowheads="1"/>
          </p:cNvSpPr>
          <p:nvPr/>
        </p:nvSpPr>
        <p:spPr bwMode="auto">
          <a:xfrm>
            <a:off x="509522" y="3298143"/>
            <a:ext cx="7802364" cy="312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>
              <a:lnSpc>
                <a:spcPct val="90000"/>
              </a:lnSpc>
              <a:spcAft>
                <a:spcPct val="40000"/>
              </a:spcAft>
              <a:buFont typeface="Wingdings" pitchFamily="2" charset="2"/>
              <a:buNone/>
            </a:pPr>
            <a:r>
              <a:rPr lang="it-IT" altLang="it-IT" sz="1200" dirty="0" smtClean="0"/>
              <a:t> </a:t>
            </a:r>
            <a:r>
              <a:rPr lang="it-IT" altLang="it-IT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 h</a:t>
            </a:r>
            <a:r>
              <a:rPr lang="it-IT" altLang="it-IT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istituito</a:t>
            </a:r>
            <a:r>
              <a:rPr lang="it-IT" altLang="it-IT" sz="1200" dirty="0" smtClean="0"/>
              <a:t>:</a:t>
            </a:r>
            <a:endParaRPr lang="it-IT" altLang="it-IT" sz="1200" dirty="0"/>
          </a:p>
        </p:txBody>
      </p:sp>
      <p:sp>
        <p:nvSpPr>
          <p:cNvPr id="26" name="Freccia a destra con strisce 25"/>
          <p:cNvSpPr/>
          <p:nvPr/>
        </p:nvSpPr>
        <p:spPr>
          <a:xfrm rot="10800000">
            <a:off x="4984991" y="3538797"/>
            <a:ext cx="782617" cy="700112"/>
          </a:xfrm>
          <a:prstGeom prst="stripedRightArrow">
            <a:avLst>
              <a:gd name="adj1" fmla="val 51965"/>
              <a:gd name="adj2" fmla="val 58205"/>
            </a:avLst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69090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3"/>
          <p:cNvSpPr>
            <a:spLocks noChangeArrowheads="1"/>
          </p:cNvSpPr>
          <p:nvPr/>
        </p:nvSpPr>
        <p:spPr bwMode="auto">
          <a:xfrm>
            <a:off x="458964" y="2023562"/>
            <a:ext cx="7831923" cy="37068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>
              <a:spcBef>
                <a:spcPct val="50000"/>
              </a:spcBef>
            </a:pPr>
            <a:endParaRPr lang="it-IT" altLang="it-IT" b="1" dirty="0"/>
          </a:p>
          <a:p>
            <a:pPr algn="just" eaLnBrk="1" hangingPunct="1">
              <a:buClr>
                <a:srgbClr val="9BBB59"/>
              </a:buClr>
              <a:buFont typeface="Wingdings" pitchFamily="2" charset="2"/>
              <a:buChar char="§"/>
            </a:pPr>
            <a:endParaRPr lang="it-IT" altLang="it-IT" dirty="0"/>
          </a:p>
          <a:p>
            <a:pPr lvl="1" algn="just" eaLnBrk="1" hangingPunct="1"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sz="11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eck-lits</a:t>
            </a:r>
            <a:r>
              <a:rPr lang="it-IT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it-IT" sz="1100" b="1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tners</a:t>
            </a:r>
            <a:r>
              <a:rPr lang="it-IT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mmerciali. </a:t>
            </a:r>
            <a:r>
              <a:rPr lang="it-IT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ando </a:t>
            </a:r>
            <a:r>
              <a:rPr lang="it-IT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Società conclude una qualunque partnership (joint-venture, consorzio, ecc.) con altre imprese private o sottoscrive contratti con o senza rappresentanza di agenzia, distribuzione, consulenza, ed altri contratti simili con società o persone fisiche, è necessario far compilare al partner coinvolto nella partnership o nel rapporto di collaborazione, etc., una scheda anagrafica, </a:t>
            </a:r>
            <a:r>
              <a:rPr lang="it-IT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enente </a:t>
            </a:r>
            <a:r>
              <a:rPr lang="it-IT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a serie di informazioni che derivano dall’effettuazione di una serie di domande. </a:t>
            </a:r>
            <a:endParaRPr lang="it-IT" sz="11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algn="just" eaLnBrk="1" hangingPunct="1">
              <a:buClr>
                <a:schemeClr val="accent1"/>
              </a:buClr>
              <a:buFont typeface="Wingdings" pitchFamily="2" charset="2"/>
              <a:buChar char="§"/>
            </a:pPr>
            <a:endParaRPr lang="it-IT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algn="just" eaLnBrk="1" hangingPunct="1"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sz="1100" b="1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eck-lits</a:t>
            </a:r>
            <a:r>
              <a:rPr lang="it-IT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it-IT" sz="1100" b="1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tners</a:t>
            </a:r>
            <a:r>
              <a:rPr lang="it-IT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ubblici</a:t>
            </a:r>
            <a:r>
              <a:rPr lang="it-IT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r>
              <a:rPr lang="it-IT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Nel </a:t>
            </a:r>
            <a:r>
              <a:rPr lang="it-IT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so </a:t>
            </a:r>
            <a:r>
              <a:rPr lang="it-IT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 partnership</a:t>
            </a:r>
            <a:r>
              <a:rPr lang="it-IT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una joint-venture o accordi similari con un’impresa in tutto o in parte pubblica, ovvero recentemente privatizzata, è necessario produrre, solo nel caso in cui si tratti di attività nel cui ambito possono essere commessi i reati di cui al </a:t>
            </a:r>
            <a:r>
              <a:rPr lang="it-IT" sz="11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.Lgs.</a:t>
            </a:r>
            <a:r>
              <a:rPr lang="it-IT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it-IT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31/2001, </a:t>
            </a:r>
            <a:r>
              <a:rPr lang="it-IT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 resoconto informativo compilato sulla base </a:t>
            </a:r>
            <a:r>
              <a:rPr lang="it-IT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 una serie di domande.</a:t>
            </a:r>
            <a:endParaRPr lang="it-IT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 eaLnBrk="1" hangingPunct="1">
              <a:buClr>
                <a:schemeClr val="accent1"/>
              </a:buClr>
            </a:pPr>
            <a:endParaRPr lang="it-IT" altLang="it-IT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algn="just" eaLnBrk="1" hangingPunct="1">
              <a:buClr>
                <a:schemeClr val="accent1"/>
              </a:buClr>
              <a:buFont typeface="Wingdings" pitchFamily="2" charset="2"/>
              <a:buChar char="§"/>
            </a:pPr>
            <a:r>
              <a:rPr lang="it-IT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ausole risolutive. </a:t>
            </a:r>
            <a:r>
              <a:rPr lang="it-IT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alunque </a:t>
            </a:r>
            <a:r>
              <a:rPr lang="it-IT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po di accordo che crei una partnership (joint-venture, consorzio, etc.) o che porti ad operazioni simili con altre imprese private o a contratti con o senza rappresentanza di agenzia, distribuzione, consulenza, e altri contratti simili con società o persone fisiche, conterrà dichiarazioni e garanzie ad hoc ai fini del </a:t>
            </a:r>
            <a:r>
              <a:rPr lang="it-IT" sz="11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.Lgs.</a:t>
            </a:r>
            <a:r>
              <a:rPr lang="it-IT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231/2001 che tutelino la Società dai rischi e dalle responsabilità connesse. </a:t>
            </a:r>
            <a:endParaRPr lang="it-IT" altLang="it-IT" dirty="0"/>
          </a:p>
          <a:p>
            <a:pPr algn="just" eaLnBrk="1" hangingPunct="1">
              <a:buClr>
                <a:schemeClr val="accent1"/>
              </a:buClr>
              <a:buFont typeface="Wingdings" pitchFamily="2" charset="2"/>
              <a:buChar char="§"/>
            </a:pPr>
            <a:endParaRPr lang="it-IT" altLang="it-IT" dirty="0"/>
          </a:p>
        </p:txBody>
      </p:sp>
      <p:sp>
        <p:nvSpPr>
          <p:cNvPr id="9" name="Freccia a destra con strisce 8"/>
          <p:cNvSpPr/>
          <p:nvPr/>
        </p:nvSpPr>
        <p:spPr>
          <a:xfrm rot="5400000">
            <a:off x="4176713" y="1681410"/>
            <a:ext cx="790575" cy="714375"/>
          </a:xfrm>
          <a:prstGeom prst="stripedRightArrow">
            <a:avLst>
              <a:gd name="adj1" fmla="val 51965"/>
              <a:gd name="adj2" fmla="val 58205"/>
            </a:avLst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dirty="0"/>
          </a:p>
        </p:txBody>
      </p:sp>
      <p:sp>
        <p:nvSpPr>
          <p:cNvPr id="10" name="Rettangolo 9"/>
          <p:cNvSpPr/>
          <p:nvPr/>
        </p:nvSpPr>
        <p:spPr>
          <a:xfrm>
            <a:off x="682699" y="760309"/>
            <a:ext cx="7705725" cy="70723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wrap="none" anchor="ctr"/>
          <a:lstStyle/>
          <a:p>
            <a:pPr algn="ctr">
              <a:defRPr/>
            </a:pPr>
            <a:r>
              <a:rPr lang="it-IT" sz="1600" b="1" dirty="0" smtClean="0">
                <a:solidFill>
                  <a:schemeClr val="bg1"/>
                </a:solidFill>
              </a:rPr>
              <a:t>Rapporti con le controparti</a:t>
            </a:r>
            <a:endParaRPr lang="it-IT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028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19&quot;&gt;&lt;version val=&quot;17885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89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LOcOsGu0ylaOEKq8Olc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aK.IAJ8UGp7DChKGMa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aa1TTT10tkya6_PkjfTP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z9Nk2kTu00WCdiWYXrpwr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Ne.60uMty0CH1xx2DNCrh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W4dOMg3AmUWinB7IM.wQ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_5GvI0N8EkuMMx_zrIXp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umdin268CEen2KT8Xs9ax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guF16apNL0KFU1Qj8KPbQ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yYUsY6rkWaeNDZXfCY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CqSjm7A0OurUCaJm5Jq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3ubY.fzEeCzipu5Fn.F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LyqhfwiU.UX68MgtOvd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d1CIG6nE22ZOrHpmLLH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d1CIG6nE22ZOrHpmLLH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ugf95ouUSRKS9r9N7G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4SAneksEW8kEsfQUHtH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i1Ur5e3EajLr0odHK._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XKBNIipUKASxz5ohbtn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qAv2WqAUqTCSjYW.IyT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qAv2WqAUqTCSjYW.IyT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fERS_ehEO.v_K9Pldm2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AtFC5u8kmNoKW75IrKC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ojGoElwEiY23oIsg6s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ep2wNYwkWl6C5THRNJx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FbdwJEMk2bW0Z4.xKw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ze4DdvkUW8hV9KM9tB5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FbdwJEMk2bW0Z4.xKws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FbdwJEMk2bW0Z4.xKws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FbdwJEMk2bW0Z4.xKws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FbdwJEMk2bW0Z4.xKws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FbdwJEMk2bW0Z4.xKws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FbdwJEMk2bW0Z4.xKws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FbdwJEMk2bW0Z4.xKws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FbdwJEMk2bW0Z4.xKws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FbdwJEMk2bW0Z4.xKw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DeAx5EyU.HAkgOIYbpb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9dSVtItkCZ._UwTPDW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LyCEutLEuNRUylncH8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FbdwJEMk2bW0Z4.xKwsA"/>
</p:tagLst>
</file>

<file path=ppt/theme/theme1.xml><?xml version="1.0" encoding="utf-8"?>
<a:theme xmlns:a="http://schemas.openxmlformats.org/drawingml/2006/main" name="Janssen (JNJ097)_2010">
  <a:themeElements>
    <a:clrScheme name="Janssen (JNJ097)_2010 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1EBF8"/>
      </a:accent1>
      <a:accent2>
        <a:srgbClr val="9CCAEC"/>
      </a:accent2>
      <a:accent3>
        <a:srgbClr val="FFFFFF"/>
      </a:accent3>
      <a:accent4>
        <a:srgbClr val="000000"/>
      </a:accent4>
      <a:accent5>
        <a:srgbClr val="EEF3FB"/>
      </a:accent5>
      <a:accent6>
        <a:srgbClr val="8DB7D6"/>
      </a:accent6>
      <a:hlink>
        <a:srgbClr val="0091D8"/>
      </a:hlink>
      <a:folHlink>
        <a:srgbClr val="002C56"/>
      </a:folHlink>
    </a:clrScheme>
    <a:fontScheme name="Janssen (JNJ097)_201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Janssen (JNJ097)_2010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Janssen (JNJ097)_2010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Janssen (JNJ097)_2010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Janssen (JNJ097)_2010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B4D3E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3BFD8"/>
        </a:accent6>
        <a:hlink>
          <a:srgbClr val="0091D8"/>
        </a:hlink>
        <a:folHlink>
          <a:srgbClr val="002C5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Janssen (JNJ097)_2010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1EBF8"/>
        </a:accent1>
        <a:accent2>
          <a:srgbClr val="9CCAEC"/>
        </a:accent2>
        <a:accent3>
          <a:srgbClr val="FFFFFF"/>
        </a:accent3>
        <a:accent4>
          <a:srgbClr val="000000"/>
        </a:accent4>
        <a:accent5>
          <a:srgbClr val="EEF3FB"/>
        </a:accent5>
        <a:accent6>
          <a:srgbClr val="8DB7D6"/>
        </a:accent6>
        <a:hlink>
          <a:srgbClr val="0091D8"/>
        </a:hlink>
        <a:folHlink>
          <a:srgbClr val="002C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Personalizza struttur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695F09C70DA147AFFFF1F6ABC08414" ma:contentTypeVersion="0" ma:contentTypeDescription="Create a new document." ma:contentTypeScope="" ma:versionID="fed47b1eaede8b84d4a19c47c6580242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1BEF3A41-2DFE-4226-B5DA-3CCF26CEC70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712279F-143C-420A-BCD3-DB9A50FDC7F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50B4B50E-54FE-4806-8FB5-22AB1F51AA07}">
  <ds:schemaRefs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Janssen (JNJ097)_2010</Template>
  <TotalTime>12237</TotalTime>
  <Words>799</Words>
  <Application>Microsoft Office PowerPoint</Application>
  <PresentationFormat>Personalizzato</PresentationFormat>
  <Paragraphs>89</Paragraphs>
  <Slides>9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4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9</vt:i4>
      </vt:variant>
    </vt:vector>
  </HeadingPairs>
  <TitlesOfParts>
    <vt:vector size="14" baseType="lpstr">
      <vt:lpstr>Janssen (JNJ097)_2010</vt:lpstr>
      <vt:lpstr>Personalizza struttura</vt:lpstr>
      <vt:lpstr>Benutzerdefiniertes Design</vt:lpstr>
      <vt:lpstr>1_Benutzerdefiniertes Design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>Corpora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Corporate</dc:creator>
  <cp:lastModifiedBy>Chiara Aldiri</cp:lastModifiedBy>
  <cp:revision>1651</cp:revision>
  <cp:lastPrinted>2008-09-19T11:06:26Z</cp:lastPrinted>
  <dcterms:created xsi:type="dcterms:W3CDTF">2010-03-19T08:07:48Z</dcterms:created>
  <dcterms:modified xsi:type="dcterms:W3CDTF">2015-10-26T14:44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Final">
    <vt:bool>false</vt:bool>
  </property>
  <property fmtid="{D5CDD505-2E9C-101B-9397-08002B2CF9AE}" pid="6" name="Title">
    <vt:lpwstr>Slide 0</vt:lpwstr>
  </property>
  <property fmtid="{D5CDD505-2E9C-101B-9397-08002B2CF9AE}" pid="7" name="Event">
    <vt:lpwstr/>
  </property>
  <property fmtid="{D5CDD505-2E9C-101B-9397-08002B2CF9AE}" pid="8" name="Delivery Date">
    <vt:lpwstr/>
  </property>
  <property fmtid="{D5CDD505-2E9C-101B-9397-08002B2CF9AE}" pid="9" name="DocID">
    <vt:lpwstr/>
  </property>
  <property fmtid="{D5CDD505-2E9C-101B-9397-08002B2CF9AE}" pid="10" name="DocIDinTitle">
    <vt:bool>false</vt:bool>
  </property>
  <property fmtid="{D5CDD505-2E9C-101B-9397-08002B2CF9AE}" pid="11" name="DocIDinSlide">
    <vt:bool>false</vt:bool>
  </property>
  <property fmtid="{D5CDD505-2E9C-101B-9397-08002B2CF9AE}" pid="12" name="DocIDPosition">
    <vt:i4>1</vt:i4>
  </property>
</Properties>
</file>